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4"/>
    <p:sldMasterId id="2147484794" r:id="rId5"/>
    <p:sldMasterId id="2147483649" r:id="rId6"/>
    <p:sldMasterId id="2147484781" r:id="rId7"/>
  </p:sldMasterIdLst>
  <p:notesMasterIdLst>
    <p:notesMasterId r:id="rId20"/>
  </p:notesMasterIdLst>
  <p:sldIdLst>
    <p:sldId id="4213" r:id="rId8"/>
    <p:sldId id="4216" r:id="rId9"/>
    <p:sldId id="4174" r:id="rId10"/>
    <p:sldId id="4176" r:id="rId11"/>
    <p:sldId id="4177" r:id="rId12"/>
    <p:sldId id="4202" r:id="rId13"/>
    <p:sldId id="4179" r:id="rId14"/>
    <p:sldId id="4178" r:id="rId15"/>
    <p:sldId id="4203" r:id="rId16"/>
    <p:sldId id="4207" r:id="rId17"/>
    <p:sldId id="4208" r:id="rId18"/>
    <p:sldId id="4187" r:id="rId19"/>
  </p:sldIdLst>
  <p:sldSz cx="12192000" cy="6858000"/>
  <p:notesSz cx="6797675" cy="9928225"/>
  <p:custDataLst>
    <p:tags r:id="rId2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8D70274-14A2-4ED5-8CF5-9B92D8E5A80A}">
          <p14:sldIdLst>
            <p14:sldId id="4213"/>
            <p14:sldId id="4216"/>
            <p14:sldId id="4174"/>
            <p14:sldId id="4176"/>
            <p14:sldId id="4177"/>
            <p14:sldId id="4202"/>
            <p14:sldId id="4179"/>
            <p14:sldId id="4178"/>
            <p14:sldId id="4203"/>
            <p14:sldId id="4207"/>
            <p14:sldId id="4208"/>
            <p14:sldId id="418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59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Дарина Вадимовна Ковальчученко" initials="ДВК" lastIdx="16" clrIdx="0">
    <p:extLst>
      <p:ext uri="{19B8F6BF-5375-455C-9EA6-DF929625EA0E}">
        <p15:presenceInfo xmlns:p15="http://schemas.microsoft.com/office/powerpoint/2012/main" userId="S::kovalchuchenkodv@sch1222.ru::333f6ef7-5f06-4235-997c-32b4221d11a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E69"/>
    <a:srgbClr val="5E595D"/>
    <a:srgbClr val="00E6BE"/>
    <a:srgbClr val="0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2599B73-CA2D-4C5A-AF8F-36FBFE9D7FEE}" v="3" dt="2023-03-07T20:46:55.8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5BE263C-DBD7-4A20-BB59-AAB30ACAA65A}" styleName="Средний стиль 3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90" autoAdjust="0"/>
    <p:restoredTop sz="91454" autoAdjust="0"/>
  </p:normalViewPr>
  <p:slideViewPr>
    <p:cSldViewPr snapToGrid="0">
      <p:cViewPr varScale="1">
        <p:scale>
          <a:sx n="52" d="100"/>
          <a:sy n="52" d="100"/>
        </p:scale>
        <p:origin x="328" y="60"/>
      </p:cViewPr>
      <p:guideLst>
        <p:guide orient="horz" pos="2160"/>
        <p:guide pos="590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korikova Maria RUMO" userId="e675f56b-a410-41de-b5b4-b103a38ed156" providerId="ADAL" clId="{A2599B73-CA2D-4C5A-AF8F-36FBFE9D7FEE}"/>
    <pc:docChg chg="undo custSel addSld delSld modSld modSection">
      <pc:chgData name="Skorikova Maria RUMO" userId="e675f56b-a410-41de-b5b4-b103a38ed156" providerId="ADAL" clId="{A2599B73-CA2D-4C5A-AF8F-36FBFE9D7FEE}" dt="2023-03-10T13:17:25.114" v="77"/>
      <pc:docMkLst>
        <pc:docMk/>
      </pc:docMkLst>
      <pc:sldChg chg="modSp mod">
        <pc:chgData name="Skorikova Maria RUMO" userId="e675f56b-a410-41de-b5b4-b103a38ed156" providerId="ADAL" clId="{A2599B73-CA2D-4C5A-AF8F-36FBFE9D7FEE}" dt="2023-03-10T13:17:25.114" v="77"/>
        <pc:sldMkLst>
          <pc:docMk/>
          <pc:sldMk cId="3654950916" sldId="4178"/>
        </pc:sldMkLst>
        <pc:spChg chg="mod">
          <ac:chgData name="Skorikova Maria RUMO" userId="e675f56b-a410-41de-b5b4-b103a38ed156" providerId="ADAL" clId="{A2599B73-CA2D-4C5A-AF8F-36FBFE9D7FEE}" dt="2023-03-10T13:17:25.114" v="77"/>
          <ac:spMkLst>
            <pc:docMk/>
            <pc:sldMk cId="3654950916" sldId="4178"/>
            <ac:spMk id="5" creationId="{4911B13E-0283-C775-52AC-9784CE9ACC03}"/>
          </ac:spMkLst>
        </pc:spChg>
        <pc:spChg chg="mod">
          <ac:chgData name="Skorikova Maria RUMO" userId="e675f56b-a410-41de-b5b4-b103a38ed156" providerId="ADAL" clId="{A2599B73-CA2D-4C5A-AF8F-36FBFE9D7FEE}" dt="2023-01-27T12:00:14.561" v="1" actId="13926"/>
          <ac:spMkLst>
            <pc:docMk/>
            <pc:sldMk cId="3654950916" sldId="4178"/>
            <ac:spMk id="9" creationId="{1D32ECA3-4923-45F8-9432-03EFD5E72031}"/>
          </ac:spMkLst>
        </pc:spChg>
      </pc:sldChg>
      <pc:sldChg chg="modSp mod">
        <pc:chgData name="Skorikova Maria RUMO" userId="e675f56b-a410-41de-b5b4-b103a38ed156" providerId="ADAL" clId="{A2599B73-CA2D-4C5A-AF8F-36FBFE9D7FEE}" dt="2023-03-10T13:17:05.616" v="65"/>
        <pc:sldMkLst>
          <pc:docMk/>
          <pc:sldMk cId="2933870688" sldId="4179"/>
        </pc:sldMkLst>
        <pc:spChg chg="mod">
          <ac:chgData name="Skorikova Maria RUMO" userId="e675f56b-a410-41de-b5b4-b103a38ed156" providerId="ADAL" clId="{A2599B73-CA2D-4C5A-AF8F-36FBFE9D7FEE}" dt="2023-03-10T13:17:05.616" v="65"/>
          <ac:spMkLst>
            <pc:docMk/>
            <pc:sldMk cId="2933870688" sldId="4179"/>
            <ac:spMk id="11" creationId="{BBC62C68-A3B7-850D-24F6-85BEB0E1AC67}"/>
          </ac:spMkLst>
        </pc:spChg>
      </pc:sldChg>
      <pc:sldChg chg="add del">
        <pc:chgData name="Skorikova Maria RUMO" userId="e675f56b-a410-41de-b5b4-b103a38ed156" providerId="ADAL" clId="{A2599B73-CA2D-4C5A-AF8F-36FBFE9D7FEE}" dt="2023-03-07T20:47:18.803" v="58" actId="2696"/>
        <pc:sldMkLst>
          <pc:docMk/>
          <pc:sldMk cId="3093135676" sldId="4190"/>
        </pc:sldMkLst>
      </pc:sldChg>
      <pc:sldChg chg="new del">
        <pc:chgData name="Skorikova Maria RUMO" userId="e675f56b-a410-41de-b5b4-b103a38ed156" providerId="ADAL" clId="{A2599B73-CA2D-4C5A-AF8F-36FBFE9D7FEE}" dt="2023-03-07T20:46:57.802" v="57" actId="47"/>
        <pc:sldMkLst>
          <pc:docMk/>
          <pc:sldMk cId="1587628057" sldId="4217"/>
        </pc:sldMkLst>
      </pc:sldChg>
      <pc:sldChg chg="addSp delSp modSp add del mod">
        <pc:chgData name="Skorikova Maria RUMO" userId="e675f56b-a410-41de-b5b4-b103a38ed156" providerId="ADAL" clId="{A2599B73-CA2D-4C5A-AF8F-36FBFE9D7FEE}" dt="2023-02-28T13:26:32.575" v="54" actId="47"/>
        <pc:sldMkLst>
          <pc:docMk/>
          <pc:sldMk cId="2358676798" sldId="4217"/>
        </pc:sldMkLst>
        <pc:spChg chg="add del mod">
          <ac:chgData name="Skorikova Maria RUMO" userId="e675f56b-a410-41de-b5b4-b103a38ed156" providerId="ADAL" clId="{A2599B73-CA2D-4C5A-AF8F-36FBFE9D7FEE}" dt="2023-02-28T13:16:46.234" v="7" actId="478"/>
          <ac:spMkLst>
            <pc:docMk/>
            <pc:sldMk cId="2358676798" sldId="4217"/>
            <ac:spMk id="6" creationId="{AC5D2CA4-3C99-CE97-6584-D499010979DC}"/>
          </ac:spMkLst>
        </pc:spChg>
        <pc:spChg chg="mod">
          <ac:chgData name="Skorikova Maria RUMO" userId="e675f56b-a410-41de-b5b4-b103a38ed156" providerId="ADAL" clId="{A2599B73-CA2D-4C5A-AF8F-36FBFE9D7FEE}" dt="2023-02-28T13:19:47.114" v="35" actId="207"/>
          <ac:spMkLst>
            <pc:docMk/>
            <pc:sldMk cId="2358676798" sldId="4217"/>
            <ac:spMk id="7" creationId="{23E2CC88-74BD-D6AA-1BAC-FC9D7A40A445}"/>
          </ac:spMkLst>
        </pc:spChg>
        <pc:spChg chg="del">
          <ac:chgData name="Skorikova Maria RUMO" userId="e675f56b-a410-41de-b5b4-b103a38ed156" providerId="ADAL" clId="{A2599B73-CA2D-4C5A-AF8F-36FBFE9D7FEE}" dt="2023-02-28T13:16:39.351" v="4" actId="478"/>
          <ac:spMkLst>
            <pc:docMk/>
            <pc:sldMk cId="2358676798" sldId="4217"/>
            <ac:spMk id="10" creationId="{E5FA4747-565A-7D48-2916-52137AB373A5}"/>
          </ac:spMkLst>
        </pc:spChg>
        <pc:spChg chg="mod">
          <ac:chgData name="Skorikova Maria RUMO" userId="e675f56b-a410-41de-b5b4-b103a38ed156" providerId="ADAL" clId="{A2599B73-CA2D-4C5A-AF8F-36FBFE9D7FEE}" dt="2023-02-28T13:20:32.945" v="47" actId="1076"/>
          <ac:spMkLst>
            <pc:docMk/>
            <pc:sldMk cId="2358676798" sldId="4217"/>
            <ac:spMk id="12" creationId="{C8E6EA38-CC7E-4420-BB52-BBD4692524D4}"/>
          </ac:spMkLst>
        </pc:spChg>
        <pc:spChg chg="del mod">
          <ac:chgData name="Skorikova Maria RUMO" userId="e675f56b-a410-41de-b5b4-b103a38ed156" providerId="ADAL" clId="{A2599B73-CA2D-4C5A-AF8F-36FBFE9D7FEE}" dt="2023-02-28T13:16:53.843" v="11" actId="478"/>
          <ac:spMkLst>
            <pc:docMk/>
            <pc:sldMk cId="2358676798" sldId="4217"/>
            <ac:spMk id="18" creationId="{D6655190-CAAB-21CE-7B9A-19E7343885D4}"/>
          </ac:spMkLst>
        </pc:spChg>
        <pc:picChg chg="mod">
          <ac:chgData name="Skorikova Maria RUMO" userId="e675f56b-a410-41de-b5b4-b103a38ed156" providerId="ADAL" clId="{A2599B73-CA2D-4C5A-AF8F-36FBFE9D7FEE}" dt="2023-02-28T13:17:48.605" v="32" actId="1076"/>
          <ac:picMkLst>
            <pc:docMk/>
            <pc:sldMk cId="2358676798" sldId="4217"/>
            <ac:picMk id="2" creationId="{89D2D483-349A-018F-1529-36C150BD37C9}"/>
          </ac:picMkLst>
        </pc:picChg>
        <pc:picChg chg="del mod">
          <ac:chgData name="Skorikova Maria RUMO" userId="e675f56b-a410-41de-b5b4-b103a38ed156" providerId="ADAL" clId="{A2599B73-CA2D-4C5A-AF8F-36FBFE9D7FEE}" dt="2023-02-28T13:20:00.446" v="38" actId="478"/>
          <ac:picMkLst>
            <pc:docMk/>
            <pc:sldMk cId="2358676798" sldId="4217"/>
            <ac:picMk id="3" creationId="{94045487-5C95-12D1-0960-E76C11D485A1}"/>
          </ac:picMkLst>
        </pc:picChg>
        <pc:picChg chg="del mod">
          <ac:chgData name="Skorikova Maria RUMO" userId="e675f56b-a410-41de-b5b4-b103a38ed156" providerId="ADAL" clId="{A2599B73-CA2D-4C5A-AF8F-36FBFE9D7FEE}" dt="2023-02-28T13:20:39.654" v="48" actId="478"/>
          <ac:picMkLst>
            <pc:docMk/>
            <pc:sldMk cId="2358676798" sldId="4217"/>
            <ac:picMk id="5" creationId="{9D93CEC1-1ABD-4F7A-92CE-D4B07820A918}"/>
          </ac:picMkLst>
        </pc:picChg>
        <pc:picChg chg="add mod ord">
          <ac:chgData name="Skorikova Maria RUMO" userId="e675f56b-a410-41de-b5b4-b103a38ed156" providerId="ADAL" clId="{A2599B73-CA2D-4C5A-AF8F-36FBFE9D7FEE}" dt="2023-02-28T13:17:31.923" v="30" actId="171"/>
          <ac:picMkLst>
            <pc:docMk/>
            <pc:sldMk cId="2358676798" sldId="4217"/>
            <ac:picMk id="9" creationId="{D44C8462-5070-AB03-21D2-DDC36E963436}"/>
          </ac:picMkLst>
        </pc:picChg>
        <pc:picChg chg="add mod ord">
          <ac:chgData name="Skorikova Maria RUMO" userId="e675f56b-a410-41de-b5b4-b103a38ed156" providerId="ADAL" clId="{A2599B73-CA2D-4C5A-AF8F-36FBFE9D7FEE}" dt="2023-02-28T13:20:45.837" v="53" actId="171"/>
          <ac:picMkLst>
            <pc:docMk/>
            <pc:sldMk cId="2358676798" sldId="4217"/>
            <ac:picMk id="11" creationId="{EEC0EF96-2BD4-75BC-604C-C2C5F56295BD}"/>
          </ac:picMkLst>
        </pc:picChg>
        <pc:cxnChg chg="del">
          <ac:chgData name="Skorikova Maria RUMO" userId="e675f56b-a410-41de-b5b4-b103a38ed156" providerId="ADAL" clId="{A2599B73-CA2D-4C5A-AF8F-36FBFE9D7FEE}" dt="2023-02-28T13:16:49.456" v="9" actId="478"/>
          <ac:cxnSpMkLst>
            <pc:docMk/>
            <pc:sldMk cId="2358676798" sldId="4217"/>
            <ac:cxnSpMk id="14" creationId="{167A158A-A733-792D-2221-7E37CF41486E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0" hangingPunct="0">
              <a:spcAft>
                <a:spcPts val="600"/>
              </a:spcAft>
              <a:defRPr sz="1200"/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0" hangingPunct="0">
              <a:spcAft>
                <a:spcPts val="600"/>
              </a:spcAft>
              <a:defRPr sz="1200"/>
            </a:lvl1pPr>
          </a:lstStyle>
          <a:p>
            <a:pPr>
              <a:defRPr/>
            </a:pPr>
            <a:fld id="{1CD21647-3907-48F4-8324-BD5C5AE4467A}" type="datetimeFigureOut">
              <a:rPr lang="de-DE"/>
              <a:pPr>
                <a:defRPr/>
              </a:pPr>
              <a:t>10.03.2023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CH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0" hangingPunct="0">
              <a:spcAft>
                <a:spcPts val="600"/>
              </a:spcAft>
              <a:defRPr sz="1200"/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0" hangingPunct="0">
              <a:spcAft>
                <a:spcPts val="600"/>
              </a:spcAft>
              <a:defRPr sz="1200"/>
            </a:lvl1pPr>
          </a:lstStyle>
          <a:p>
            <a:pPr>
              <a:defRPr/>
            </a:pPr>
            <a:fld id="{201A48D2-05E1-427F-86AE-0CBA5B27E11C}" type="slidenum">
              <a:rPr lang="de-CH"/>
              <a:pPr>
                <a:defRPr/>
              </a:pPr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3777932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01A48D2-05E1-427F-86AE-0CBA5B27E11C}" type="slidenum">
              <a:rPr lang="de-CH" smtClean="0"/>
              <a:pPr>
                <a:defRPr/>
              </a:pPr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30922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01A48D2-05E1-427F-86AE-0CBA5B27E11C}" type="slidenum">
              <a:rPr lang="de-CH" smtClean="0"/>
              <a:pPr>
                <a:defRPr/>
              </a:pPr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949022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01A48D2-05E1-427F-86AE-0CBA5B27E11C}" type="slidenum">
              <a:rPr lang="de-CH" smtClean="0"/>
              <a:pPr>
                <a:defRPr/>
              </a:pPr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069210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01A48D2-05E1-427F-86AE-0CBA5B27E11C}" type="slidenum">
              <a:rPr lang="de-CH" smtClean="0"/>
              <a:pPr>
                <a:defRPr/>
              </a:pPr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339101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powerpoint_land_1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567"/>
            <a:ext cx="5314975" cy="6857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 descr="powerpoint_land_1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7"/>
          <a:stretch/>
        </p:blipFill>
        <p:spPr bwMode="auto">
          <a:xfrm>
            <a:off x="3071664" y="567"/>
            <a:ext cx="9120336" cy="6857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5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14401" y="5927726"/>
            <a:ext cx="5616000" cy="360363"/>
          </a:xfrm>
        </p:spPr>
        <p:txBody>
          <a:bodyPr wrap="none"/>
          <a:lstStyle>
            <a:lvl1pPr marL="0" indent="0">
              <a:buFont typeface="Arial" charset="0"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noProof="0"/>
              <a:t>Master-Untertitelformat bearbeiten</a:t>
            </a:r>
            <a:endParaRPr lang="en-US" noProof="0"/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916518" y="4035426"/>
            <a:ext cx="9596967" cy="4222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>
          <a:xfrm>
            <a:off x="6619200" y="5929200"/>
            <a:ext cx="3696000" cy="360000"/>
          </a:xfrm>
        </p:spPr>
        <p:txBody>
          <a:bodyPr tIns="0" rIns="0" bIns="0" anchor="t">
            <a:normAutofit/>
          </a:bodyPr>
          <a:lstStyle>
            <a:lvl1pPr algn="r">
              <a:defRPr sz="12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57733" y="88901"/>
            <a:ext cx="2819400" cy="5853113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7418" y="88901"/>
            <a:ext cx="8257116" cy="5853113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64816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7D61A4-BD9B-9926-F325-B864411EE4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F246B1-3AAE-3153-A62E-86B0E9F2BA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920B8E-CD70-1E6C-3634-BA6FFF3CC5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ACD89AD-8051-AA4A-8167-78ED0AF1E527}" type="datetimeFigureOut">
              <a:rPr lang="en-RU" smtClean="0"/>
              <a:t>03/10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38CD33-51B7-E437-D7E2-5F1A86FD2F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EE2A5F-CE0C-0576-41D6-548C39F304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E1E6C4E-152C-7244-B394-086E7CD87A14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7486861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941341-D9BB-501E-CDEA-FF3D3A2772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A3F4B1-7142-28D8-D076-42DE9FA991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198B59-731E-A53D-7ED5-17814E8128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ACD89AD-8051-AA4A-8167-78ED0AF1E527}" type="datetimeFigureOut">
              <a:rPr lang="en-RU" smtClean="0"/>
              <a:t>03/10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96316F-A7F6-87A9-6856-1B8EE679E9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F722AF-F6B2-33A5-8C4C-1623C9879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E1E6C4E-152C-7244-B394-086E7CD87A14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2554459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342C4-4AAB-6BC2-937E-0DE157A2B0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B55C7B-B540-D3A8-42CD-3E5C208E7B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9EECFC-9B02-4011-4561-3279CAE38A7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ACD89AD-8051-AA4A-8167-78ED0AF1E527}" type="datetimeFigureOut">
              <a:rPr lang="en-RU" smtClean="0"/>
              <a:t>03/10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9F31E7-07EC-2D0D-533E-1E55F3F7AF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CBB604-9013-732C-3ECA-B4DA8980D9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E1E6C4E-152C-7244-B394-086E7CD87A14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8856350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7E3D16-0162-717D-5127-0F4FCA95E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36AD03-6B2C-979E-42FB-96D63F74CCA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F762984-D082-E727-B684-C47C20AB3D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312A50-FF7E-D24F-1F52-630365EF29A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ACD89AD-8051-AA4A-8167-78ED0AF1E527}" type="datetimeFigureOut">
              <a:rPr lang="en-RU" smtClean="0"/>
              <a:t>03/10/2023</a:t>
            </a:fld>
            <a:endParaRPr lang="en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5A5B7F-7632-129C-55AF-706C051BB5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BC125E-847A-64DC-4EF8-81B19AF0A6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E1E6C4E-152C-7244-B394-086E7CD87A14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9463439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90402D-70E4-C9E3-782B-7EAFC4549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E248C3-6D73-9461-7643-D74BC4D799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567F04-EC1A-2AB2-083D-7457877515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175839-DA69-1DDF-507A-E46A9CE85B4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04E29B-9FCF-0BA7-F9A2-DA60CBF0FF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B886B54-96BF-C604-D417-1C87C58561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ACD89AD-8051-AA4A-8167-78ED0AF1E527}" type="datetimeFigureOut">
              <a:rPr lang="en-RU" smtClean="0"/>
              <a:t>03/10/2023</a:t>
            </a:fld>
            <a:endParaRPr lang="en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38B63F-7763-797F-50CA-6F16573DC8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8B12D48-9910-5015-1E51-C2341AB72B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E1E6C4E-152C-7244-B394-086E7CD87A14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40827825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B6C722-3B5D-2AB1-7551-63E1BB3AC6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3AA975-4007-F9F7-4254-A8640516B9B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ACD89AD-8051-AA4A-8167-78ED0AF1E527}" type="datetimeFigureOut">
              <a:rPr lang="en-RU" smtClean="0"/>
              <a:t>03/10/2023</a:t>
            </a:fld>
            <a:endParaRPr lang="en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2A908B-146C-8665-FCD0-2BBEF19A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8CE62D-F920-16B5-7B48-4E54109CF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E1E6C4E-152C-7244-B394-086E7CD87A14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7606810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B5AB8BD-87F4-75B3-BAE4-584303444F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ACD89AD-8051-AA4A-8167-78ED0AF1E527}" type="datetimeFigureOut">
              <a:rPr lang="en-RU" smtClean="0"/>
              <a:t>03/10/2023</a:t>
            </a:fld>
            <a:endParaRPr lang="en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553751-2E07-E09B-6673-DBC19932B1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6AD79D-CEBA-2C86-7157-C826A6C6F9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E1E6C4E-152C-7244-B394-086E7CD87A14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7593308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211" y="1214422"/>
            <a:ext cx="11279716" cy="47307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056217" y="6457183"/>
            <a:ext cx="7670800" cy="37623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1390FB-0D8B-3E29-6D8C-CA19DBD4D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311F4D-0413-14DA-B4A5-CEA2D8EC6F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FB3500-1AA7-F9CD-B8E1-757925C5B4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14E6D1-B77D-0904-DE48-B4E815484D7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ACD89AD-8051-AA4A-8167-78ED0AF1E527}" type="datetimeFigureOut">
              <a:rPr lang="en-RU" smtClean="0"/>
              <a:t>03/10/2023</a:t>
            </a:fld>
            <a:endParaRPr lang="en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590576-2E0F-2A46-373A-4AB2589149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F9B9D13-EAAE-B578-8F85-DD480446DA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E1E6C4E-152C-7244-B394-086E7CD87A14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0072324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64D85D-51CD-2B2F-159D-9BFB042311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DBC2924-0E03-9AD8-081B-EB417369FAB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28B1D26-74A4-76BE-F592-9BF5607F6D8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93D6B2-9B1B-F97E-0826-B7444DFEA5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ACD89AD-8051-AA4A-8167-78ED0AF1E527}" type="datetimeFigureOut">
              <a:rPr lang="en-RU" smtClean="0"/>
              <a:t>03/10/2023</a:t>
            </a:fld>
            <a:endParaRPr lang="en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F85B35-AE7E-04A6-3C97-09F9A44F94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E0E8040-8DA5-4A59-EC79-1589D9D44C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E1E6C4E-152C-7244-B394-086E7CD87A14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8100515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E8EFDD-238D-7FF9-007F-3228DB4697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C04677-734E-983C-C104-6139A86371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D4A576-BB0D-12B4-CDD6-141C6FA1E5B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ACD89AD-8051-AA4A-8167-78ED0AF1E527}" type="datetimeFigureOut">
              <a:rPr lang="en-RU" smtClean="0"/>
              <a:t>03/10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7F8145-927F-C1A2-1535-9C4954175F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6AA76A-F608-FB89-D214-AA10E4DF26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E1E6C4E-152C-7244-B394-086E7CD87A14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5850562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813A406-A5D4-3D1D-6E1C-6EC48E836D2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FEA1893-B6CA-131B-244D-3B7449ED277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96AB84-DCF2-F847-233E-FE41F5CB9D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ACD89AD-8051-AA4A-8167-78ED0AF1E527}" type="datetimeFigureOut">
              <a:rPr lang="en-RU" smtClean="0"/>
              <a:t>03/10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0B7A48-7CF1-698A-A7D9-8442379BA1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5857B0-4677-392F-57DE-16A5CE164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E1E6C4E-152C-7244-B394-086E7CD87A14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3360970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Titelbild ne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5" descr="Logo neu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53968" y="2949575"/>
            <a:ext cx="1818217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2" name="Rectangle 2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14401" y="5927726"/>
            <a:ext cx="5616000" cy="360363"/>
          </a:xfrm>
        </p:spPr>
        <p:txBody>
          <a:bodyPr wrap="none">
            <a:normAutofit/>
          </a:bodyPr>
          <a:lstStyle>
            <a:lvl1pPr marL="0" indent="0">
              <a:buFont typeface="Arial" charset="0"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916518" y="4035426"/>
            <a:ext cx="9596967" cy="422275"/>
          </a:xfrm>
        </p:spPr>
        <p:txBody>
          <a:bodyPr anchor="t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Fußzeilenplatzhalter 5"/>
          <p:cNvSpPr>
            <a:spLocks noGrp="1"/>
          </p:cNvSpPr>
          <p:nvPr>
            <p:ph type="ftr" sz="quarter" idx="10"/>
          </p:nvPr>
        </p:nvSpPr>
        <p:spPr>
          <a:xfrm>
            <a:off x="6619200" y="5929200"/>
            <a:ext cx="3696000" cy="360000"/>
          </a:xfrm>
        </p:spPr>
        <p:txBody>
          <a:bodyPr tIns="0" rIns="0" bIns="0" anchor="t">
            <a:normAutofit/>
          </a:bodyPr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Footer Placeholder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56217" y="6440029"/>
            <a:ext cx="76708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eaLnBrk="0" hangingPunct="0">
              <a:spcAft>
                <a:spcPts val="600"/>
              </a:spcAft>
              <a:tabLst>
                <a:tab pos="441325" algn="l"/>
              </a:tabLst>
              <a:defRPr sz="8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2200" b="1" cap="none" baseline="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 b="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56217" y="6440029"/>
            <a:ext cx="76708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eaLnBrk="0" hangingPunct="0">
              <a:spcAft>
                <a:spcPts val="600"/>
              </a:spcAft>
              <a:tabLst>
                <a:tab pos="441325" algn="l"/>
              </a:tabLst>
              <a:defRPr sz="8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7417" y="1211263"/>
            <a:ext cx="5537200" cy="47307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7818" y="1211263"/>
            <a:ext cx="5539316" cy="47307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56217" y="6440029"/>
            <a:ext cx="76708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eaLnBrk="0" hangingPunct="0">
              <a:spcAft>
                <a:spcPts val="600"/>
              </a:spcAft>
              <a:tabLst>
                <a:tab pos="441325" algn="l"/>
              </a:tabLst>
              <a:defRPr sz="8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1056217" y="6440029"/>
            <a:ext cx="76708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eaLnBrk="0" hangingPunct="0">
              <a:spcAft>
                <a:spcPts val="600"/>
              </a:spcAft>
              <a:tabLst>
                <a:tab pos="441325" algn="l"/>
              </a:tabLst>
              <a:defRPr sz="8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5" name="Footer Placeholder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56217" y="6440029"/>
            <a:ext cx="76708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eaLnBrk="0" hangingPunct="0">
              <a:spcAft>
                <a:spcPts val="600"/>
              </a:spcAft>
              <a:tabLst>
                <a:tab pos="441325" algn="l"/>
              </a:tabLst>
              <a:defRPr sz="8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2200" b="1" cap="none" baseline="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 b="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56217" y="6440029"/>
            <a:ext cx="76708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eaLnBrk="0" hangingPunct="0">
              <a:spcAft>
                <a:spcPts val="600"/>
              </a:spcAft>
              <a:tabLst>
                <a:tab pos="441325" algn="l"/>
              </a:tabLst>
              <a:defRPr sz="8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56217" y="6440029"/>
            <a:ext cx="76708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eaLnBrk="0" hangingPunct="0">
              <a:spcAft>
                <a:spcPts val="600"/>
              </a:spcAft>
              <a:tabLst>
                <a:tab pos="441325" algn="l"/>
              </a:tabLst>
              <a:defRPr sz="8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56217" y="6440029"/>
            <a:ext cx="76708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eaLnBrk="0" hangingPunct="0">
              <a:spcAft>
                <a:spcPts val="600"/>
              </a:spcAft>
              <a:tabLst>
                <a:tab pos="441325" algn="l"/>
              </a:tabLst>
              <a:defRPr sz="8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56217" y="6440029"/>
            <a:ext cx="76708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eaLnBrk="0" hangingPunct="0">
              <a:spcAft>
                <a:spcPts val="600"/>
              </a:spcAft>
              <a:tabLst>
                <a:tab pos="441325" algn="l"/>
              </a:tabLst>
              <a:defRPr sz="8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57733" y="88901"/>
            <a:ext cx="2819400" cy="58531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7418" y="88901"/>
            <a:ext cx="8257116" cy="58531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56217" y="6440029"/>
            <a:ext cx="76708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eaLnBrk="0" hangingPunct="0">
              <a:spcAft>
                <a:spcPts val="600"/>
              </a:spcAft>
              <a:tabLst>
                <a:tab pos="441325" algn="l"/>
              </a:tabLst>
              <a:defRPr sz="8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7418" y="88900"/>
            <a:ext cx="11271249" cy="812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97417" y="1211263"/>
            <a:ext cx="5537200" cy="4730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237818" y="1211264"/>
            <a:ext cx="5539316" cy="2289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237818" y="3652839"/>
            <a:ext cx="5539316" cy="2289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1056217" y="6440029"/>
            <a:ext cx="76708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eaLnBrk="0" hangingPunct="0">
              <a:spcAft>
                <a:spcPts val="600"/>
              </a:spcAft>
              <a:tabLst>
                <a:tab pos="441325" algn="l"/>
              </a:tabLst>
              <a:defRPr sz="8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powerpoint_land_1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567"/>
            <a:ext cx="5314975" cy="6857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 descr="powerpoint_land_1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7"/>
          <a:stretch/>
        </p:blipFill>
        <p:spPr bwMode="auto">
          <a:xfrm>
            <a:off x="3071664" y="567"/>
            <a:ext cx="9120336" cy="6857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5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14401" y="5927726"/>
            <a:ext cx="5616000" cy="360363"/>
          </a:xfrm>
        </p:spPr>
        <p:txBody>
          <a:bodyPr wrap="none"/>
          <a:lstStyle>
            <a:lvl1pPr marL="0" indent="0">
              <a:buFont typeface="Arial" charset="0"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noProof="0"/>
              <a:t>Master-Untertitelformat bearbeiten</a:t>
            </a:r>
            <a:endParaRPr lang="en-US" noProof="0"/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916518" y="4035426"/>
            <a:ext cx="9596967" cy="4222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>
          <a:xfrm>
            <a:off x="6619200" y="5929200"/>
            <a:ext cx="3696000" cy="360000"/>
          </a:xfrm>
        </p:spPr>
        <p:txBody>
          <a:bodyPr tIns="0" rIns="0" bIns="0" anchor="t">
            <a:normAutofit/>
          </a:bodyPr>
          <a:lstStyle>
            <a:lvl1pPr algn="r">
              <a:defRPr sz="12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335213062"/>
      </p:ext>
    </p:extLst>
  </p:cSld>
  <p:clrMapOvr>
    <a:masterClrMapping/>
  </p:clrMapOvr>
  <p:transition>
    <p:wipe dir="r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211" y="1214422"/>
            <a:ext cx="11279716" cy="47307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056217" y="6457183"/>
            <a:ext cx="7670800" cy="37623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496196239"/>
      </p:ext>
    </p:extLst>
  </p:cSld>
  <p:clrMapOvr>
    <a:masterClrMapping/>
  </p:clrMapOvr>
  <p:transition>
    <p:wipe dir="r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2200" b="1" cap="none" baseline="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 b="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137129693"/>
      </p:ext>
    </p:extLst>
  </p:cSld>
  <p:clrMapOvr>
    <a:masterClrMapping/>
  </p:clrMapOvr>
  <p:transition>
    <p:wipe dir="r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7417" y="1211263"/>
            <a:ext cx="5537200" cy="47307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7818" y="1211263"/>
            <a:ext cx="5539316" cy="47307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157461012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7417" y="1211263"/>
            <a:ext cx="5537200" cy="47307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7818" y="1211263"/>
            <a:ext cx="5539316" cy="47307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noFill/>
          <a:ln w="9525">
            <a:noFill/>
            <a:miter lim="800000"/>
            <a:headEnd/>
            <a:tailEnd/>
          </a:ln>
        </p:spPr>
        <p:txBody>
          <a:bodyPr anchor="b"/>
          <a:lstStyle>
            <a:lvl1pPr marL="0" indent="0">
              <a:buNone/>
              <a:defRPr lang="en-US" sz="2000" b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 anchor="ctr" anchorCtr="0">
            <a:normAutofit/>
          </a:bodyPr>
          <a:lstStyle>
            <a:lvl1pPr>
              <a:defRPr sz="800"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777639638"/>
      </p:ext>
    </p:extLst>
  </p:cSld>
  <p:clrMapOvr>
    <a:masterClrMapping/>
  </p:clrMapOvr>
  <p:transition>
    <p:wipe dir="r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593556803"/>
      </p:ext>
    </p:extLst>
  </p:cSld>
  <p:clrMapOvr>
    <a:masterClrMapping/>
  </p:clrMapOvr>
  <p:transition>
    <p:wipe dir="r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250710013"/>
      </p:ext>
    </p:extLst>
  </p:cSld>
  <p:clrMapOvr>
    <a:masterClrMapping/>
  </p:clrMapOvr>
  <p:transition>
    <p:wipe dir="r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35555615"/>
      </p:ext>
    </p:extLst>
  </p:cSld>
  <p:clrMapOvr>
    <a:masterClrMapping/>
  </p:clrMapOvr>
  <p:transition>
    <p:wipe dir="r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989333470"/>
      </p:ext>
    </p:extLst>
  </p:cSld>
  <p:clrMapOvr>
    <a:masterClrMapping/>
  </p:clrMapOvr>
  <p:transition>
    <p:wipe dir="r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484265156"/>
      </p:ext>
    </p:extLst>
  </p:cSld>
  <p:clrMapOvr>
    <a:masterClrMapping/>
  </p:clrMapOvr>
  <p:transition>
    <p:wipe dir="r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57733" y="88901"/>
            <a:ext cx="2819400" cy="5853113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7418" y="88901"/>
            <a:ext cx="8257116" cy="5853113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414281450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noFill/>
          <a:ln w="9525">
            <a:noFill/>
            <a:miter lim="800000"/>
            <a:headEnd/>
            <a:tailEnd/>
          </a:ln>
        </p:spPr>
        <p:txBody>
          <a:bodyPr anchor="b"/>
          <a:lstStyle>
            <a:lvl1pPr marL="0" indent="0">
              <a:buNone/>
              <a:defRPr lang="en-US" sz="2000" b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 anchor="ctr" anchorCtr="0">
            <a:normAutofit/>
          </a:bodyPr>
          <a:lstStyle>
            <a:lvl1pPr>
              <a:defRPr sz="800"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de-CH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</p:spTree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18" Type="http://schemas.openxmlformats.org/officeDocument/2006/relationships/image" Target="../media/image8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5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ags" Target="../tags/tag6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17" Type="http://schemas.openxmlformats.org/officeDocument/2006/relationships/image" Target="../media/image11.png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3F5A549-4178-4554-AED2-BCF30B794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28898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3F5A549-4178-4554-AED2-BCF30B794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D224F08-A92B-43C5-9650-D79011D47C50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de-DE" sz="2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074" name="Picture 7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6151565"/>
            <a:ext cx="12191999" cy="69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97418" y="88900"/>
            <a:ext cx="11271249" cy="81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itelmasterformat durch Klicken bearbeiten</a:t>
            </a:r>
            <a:endParaRPr lang="en-US" altLang="en-US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7418" y="1211263"/>
            <a:ext cx="11279716" cy="473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extmasterformate durch Klicken bearbeiten</a:t>
            </a:r>
          </a:p>
          <a:p>
            <a:pPr lvl="1"/>
            <a:r>
              <a:rPr lang="de-DE" altLang="en-US"/>
              <a:t>Zweite Ebene</a:t>
            </a:r>
          </a:p>
          <a:p>
            <a:pPr lvl="2"/>
            <a:r>
              <a:rPr lang="de-DE" altLang="en-US"/>
              <a:t>Dritte Ebene</a:t>
            </a:r>
          </a:p>
          <a:p>
            <a:pPr lvl="3"/>
            <a:r>
              <a:rPr lang="de-DE" altLang="en-US"/>
              <a:t>Vierte Ebene</a:t>
            </a:r>
          </a:p>
          <a:p>
            <a:pPr lvl="4"/>
            <a:r>
              <a:rPr lang="de-DE" altLang="en-US"/>
              <a:t>Fünfte Ebene</a:t>
            </a:r>
            <a:endParaRPr lang="en-US" altLang="en-US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56217" y="6458411"/>
            <a:ext cx="76708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eaLnBrk="0" hangingPunct="0">
              <a:spcAft>
                <a:spcPts val="600"/>
              </a:spcAft>
              <a:tabLst>
                <a:tab pos="441325" algn="l"/>
              </a:tabLst>
              <a:defRPr sz="800" b="0"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  <p:pic>
        <p:nvPicPr>
          <p:cNvPr id="3079" name="Picture 8" descr="new logo"/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86434" y="6403976"/>
            <a:ext cx="1176251" cy="349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F064A83-0D7D-207E-A34D-64B6E11CC7D0}"/>
              </a:ext>
            </a:extLst>
          </p:cNvPr>
          <p:cNvSpPr/>
          <p:nvPr userDrawn="1"/>
        </p:nvSpPr>
        <p:spPr>
          <a:xfrm>
            <a:off x="9926425" y="6277558"/>
            <a:ext cx="1850709" cy="502938"/>
          </a:xfrm>
          <a:prstGeom prst="rect">
            <a:avLst/>
          </a:pr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RU" sz="1800" b="0" i="0" u="none" strike="noStrike" cap="none" spc="0" normalizeH="0" baseline="0">
              <a:ln>
                <a:noFill/>
              </a:ln>
              <a:solidFill>
                <a:srgbClr val="626469"/>
              </a:solidFill>
              <a:effectLst/>
              <a:uFillTx/>
              <a:latin typeface="+mj-lt"/>
              <a:ea typeface="+mj-ea"/>
              <a:cs typeface="+mj-cs"/>
              <a:sym typeface="Helvetica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91AC36-90E4-C24E-B797-81F59DC676BE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10162095" y="6342568"/>
            <a:ext cx="1513501" cy="42653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777" r:id="rId1"/>
    <p:sldLayoutId id="2147484757" r:id="rId2"/>
    <p:sldLayoutId id="2147484758" r:id="rId3"/>
    <p:sldLayoutId id="2147484759" r:id="rId4"/>
    <p:sldLayoutId id="2147484760" r:id="rId5"/>
    <p:sldLayoutId id="2147484761" r:id="rId6"/>
    <p:sldLayoutId id="2147484762" r:id="rId7"/>
    <p:sldLayoutId id="2147484763" r:id="rId8"/>
    <p:sldLayoutId id="2147484764" r:id="rId9"/>
    <p:sldLayoutId id="2147484765" r:id="rId10"/>
    <p:sldLayoutId id="2147484766" r:id="rId11"/>
    <p:sldLayoutId id="2147484793" r:id="rId12"/>
  </p:sldLayoutIdLst>
  <p:transition>
    <p:wipe dir="r"/>
  </p:transition>
  <p:hf sldNum="0" hdr="0" dt="0"/>
  <p:txStyles>
    <p:titleStyle>
      <a:lvl1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85750" indent="-285750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Font typeface="Arial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676275" indent="-27622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Font typeface="Arial" charset="0"/>
        <a:buChar char="-"/>
        <a:defRPr sz="2000">
          <a:solidFill>
            <a:schemeClr val="tx1"/>
          </a:solidFill>
          <a:latin typeface="+mn-lt"/>
        </a:defRPr>
      </a:lvl2pPr>
      <a:lvl3pPr marL="1144588" indent="-287338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3pPr>
      <a:lvl4pPr marL="1619250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Font typeface="Arial" charset="0"/>
        <a:buChar char="-"/>
        <a:defRPr sz="2000">
          <a:solidFill>
            <a:schemeClr val="tx1"/>
          </a:solidFill>
          <a:latin typeface="+mn-lt"/>
        </a:defRPr>
      </a:lvl4pPr>
      <a:lvl5pPr marL="20939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5pPr>
      <a:lvl6pPr marL="25511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6pPr>
      <a:lvl7pPr marL="30083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7pPr>
      <a:lvl8pPr marL="34655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8pPr>
      <a:lvl9pPr marL="39227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7">
            <a:extLst>
              <a:ext uri="{FF2B5EF4-FFF2-40B4-BE49-F238E27FC236}">
                <a16:creationId xmlns:a16="http://schemas.microsoft.com/office/drawing/2014/main" id="{5F212E0B-FDAA-B7BE-5608-E9AB5251D259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20809" cy="6852677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3AA719A-83F8-A9DE-0E8B-9BAC4C3C7424}"/>
              </a:ext>
            </a:extLst>
          </p:cNvPr>
          <p:cNvSpPr/>
          <p:nvPr userDrawn="1"/>
        </p:nvSpPr>
        <p:spPr>
          <a:xfrm>
            <a:off x="9926425" y="6257894"/>
            <a:ext cx="1923068" cy="522602"/>
          </a:xfrm>
          <a:prstGeom prst="rect">
            <a:avLst/>
          </a:prstGeom>
          <a:solidFill>
            <a:schemeClr val="bg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RU" sz="1800" b="0" i="0" u="none" strike="noStrike" cap="none" spc="0" normalizeH="0" baseline="0">
              <a:ln>
                <a:noFill/>
              </a:ln>
              <a:solidFill>
                <a:srgbClr val="626469"/>
              </a:solidFill>
              <a:effectLst/>
              <a:uFillTx/>
              <a:latin typeface="+mj-lt"/>
              <a:ea typeface="+mj-ea"/>
              <a:cs typeface="+mj-cs"/>
              <a:sym typeface="Helvetica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53BDDE9-05DF-AAE7-77D2-73E7C282EEC7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114711" y="6302589"/>
            <a:ext cx="1621912" cy="457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730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5" r:id="rId1"/>
    <p:sldLayoutId id="2147484796" r:id="rId2"/>
    <p:sldLayoutId id="2147484797" r:id="rId3"/>
    <p:sldLayoutId id="2147484798" r:id="rId4"/>
    <p:sldLayoutId id="2147484799" r:id="rId5"/>
    <p:sldLayoutId id="2147484800" r:id="rId6"/>
    <p:sldLayoutId id="2147484801" r:id="rId7"/>
    <p:sldLayoutId id="2147484802" r:id="rId8"/>
    <p:sldLayoutId id="2147484803" r:id="rId9"/>
    <p:sldLayoutId id="2147484804" r:id="rId10"/>
    <p:sldLayoutId id="214748480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BD5FF4A-67C4-4F41-A3E6-CD27A454F5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91323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BD5FF4A-67C4-4F41-A3E6-CD27A454F5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C2A11BD-0D9A-4DC0-B684-36B83576DAB9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 w="635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en-US" sz="2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098" name="Picture 6" descr="Folienbild neu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0" y="6167438"/>
            <a:ext cx="12192000" cy="704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7418" y="88900"/>
            <a:ext cx="11271249" cy="81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7418" y="1211263"/>
            <a:ext cx="11279716" cy="473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56217" y="6440029"/>
            <a:ext cx="76708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eaLnBrk="0" hangingPunct="0">
              <a:spcAft>
                <a:spcPts val="600"/>
              </a:spcAft>
              <a:tabLst>
                <a:tab pos="441325" algn="l"/>
              </a:tabLst>
              <a:defRPr sz="8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  <p:sp>
        <p:nvSpPr>
          <p:cNvPr id="4101" name="Rectangle 5"/>
          <p:cNvSpPr>
            <a:spLocks noChangeArrowheads="1"/>
          </p:cNvSpPr>
          <p:nvPr/>
        </p:nvSpPr>
        <p:spPr bwMode="auto">
          <a:xfrm>
            <a:off x="391584" y="6483350"/>
            <a:ext cx="742949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0" hangingPunct="0">
              <a:spcAft>
                <a:spcPts val="600"/>
              </a:spcAft>
              <a:tabLst>
                <a:tab pos="441325" algn="l"/>
              </a:tabLst>
              <a:defRPr/>
            </a:pPr>
            <a:fld id="{3041ACBF-2812-49E3-B521-BE89A2E4D0C5}" type="slidenum">
              <a:rPr lang="en-US" sz="1200">
                <a:solidFill>
                  <a:srgbClr val="FFFFFF"/>
                </a:solidFill>
              </a:rPr>
              <a:pPr eaLnBrk="0" hangingPunct="0">
                <a:spcAft>
                  <a:spcPts val="600"/>
                </a:spcAft>
                <a:tabLst>
                  <a:tab pos="441325" algn="l"/>
                </a:tabLst>
                <a:defRPr/>
              </a:pPr>
              <a:t>‹#›</a:t>
            </a:fld>
            <a:r>
              <a:rPr lang="en-US" sz="1200">
                <a:solidFill>
                  <a:srgbClr val="FFFFFF"/>
                </a:solidFill>
              </a:rPr>
              <a:t>	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79" r:id="rId1"/>
    <p:sldLayoutId id="2147484767" r:id="rId2"/>
    <p:sldLayoutId id="2147484768" r:id="rId3"/>
    <p:sldLayoutId id="2147484769" r:id="rId4"/>
    <p:sldLayoutId id="2147484770" r:id="rId5"/>
    <p:sldLayoutId id="2147484771" r:id="rId6"/>
    <p:sldLayoutId id="2147484772" r:id="rId7"/>
    <p:sldLayoutId id="2147484773" r:id="rId8"/>
    <p:sldLayoutId id="2147484774" r:id="rId9"/>
    <p:sldLayoutId id="2147484775" r:id="rId10"/>
    <p:sldLayoutId id="2147484776" r:id="rId11"/>
    <p:sldLayoutId id="2147484780" r:id="rId12"/>
  </p:sldLayoutIdLst>
  <p:transition>
    <p:wipe dir="r"/>
  </p:transition>
  <p:hf sldNum="0" hdr="0" dt="0"/>
  <p:txStyles>
    <p:titleStyle>
      <a:lvl1pPr algn="l" defTabSz="957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7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957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957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957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85750" indent="-285750" algn="l" defTabSz="957263" rtl="0" eaLnBrk="0" fontAlgn="base" hangingPunct="0">
        <a:spcBef>
          <a:spcPct val="0"/>
        </a:spcBef>
        <a:spcAft>
          <a:spcPct val="25000"/>
        </a:spcAft>
        <a:buClr>
          <a:schemeClr val="tx2"/>
        </a:buClr>
        <a:buFont typeface="Arial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676275" indent="-276225" algn="l" defTabSz="957263" rtl="0" eaLnBrk="0" fontAlgn="base" hangingPunct="0">
        <a:spcBef>
          <a:spcPct val="0"/>
        </a:spcBef>
        <a:spcAft>
          <a:spcPct val="25000"/>
        </a:spcAft>
        <a:buClr>
          <a:schemeClr val="tx2"/>
        </a:buClr>
        <a:buFont typeface="Arial" charset="0"/>
        <a:buChar char="-"/>
        <a:defRPr sz="2000">
          <a:solidFill>
            <a:schemeClr val="tx1"/>
          </a:solidFill>
          <a:latin typeface="+mn-lt"/>
        </a:defRPr>
      </a:lvl2pPr>
      <a:lvl3pPr marL="1144588" indent="-287338" algn="l" defTabSz="957263" rtl="0" eaLnBrk="0" fontAlgn="base" hangingPunct="0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3pPr>
      <a:lvl4pPr marL="1619250" indent="-295275" algn="l" defTabSz="957263" rtl="0" eaLnBrk="0" fontAlgn="base" hangingPunct="0">
        <a:spcBef>
          <a:spcPct val="0"/>
        </a:spcBef>
        <a:spcAft>
          <a:spcPct val="25000"/>
        </a:spcAft>
        <a:buClr>
          <a:schemeClr val="tx2"/>
        </a:buClr>
        <a:buFont typeface="Arial" charset="0"/>
        <a:buChar char="-"/>
        <a:defRPr sz="2000">
          <a:solidFill>
            <a:schemeClr val="tx1"/>
          </a:solidFill>
          <a:latin typeface="+mn-lt"/>
        </a:defRPr>
      </a:lvl4pPr>
      <a:lvl5pPr marL="2093913" indent="-295275" algn="l" defTabSz="957263" rtl="0" eaLnBrk="0" fontAlgn="base" hangingPunct="0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5pPr>
      <a:lvl6pPr marL="25511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6pPr>
      <a:lvl7pPr marL="30083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7pPr>
      <a:lvl8pPr marL="34655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8pPr>
      <a:lvl9pPr marL="39227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F077E58-5D06-4BF2-868A-4AACC9ACB8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150899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F077E58-5D06-4BF2-868A-4AACC9ACB8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AECD0E7-FBC1-4EA4-9558-8583C9258E2D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de-DE" sz="2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074" name="Picture 7" descr="ppt_land_print_2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0" y="6173789"/>
            <a:ext cx="121920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97418" y="88900"/>
            <a:ext cx="11271249" cy="81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itelmasterformat durch Klicken bearbeiten</a:t>
            </a:r>
            <a:endParaRPr lang="en-US" altLang="en-US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7418" y="1211263"/>
            <a:ext cx="11279716" cy="473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extmasterformate durch Klicken bearbeiten</a:t>
            </a:r>
          </a:p>
          <a:p>
            <a:pPr lvl="1"/>
            <a:r>
              <a:rPr lang="de-DE" altLang="en-US"/>
              <a:t>Zweite Ebene</a:t>
            </a:r>
          </a:p>
          <a:p>
            <a:pPr lvl="2"/>
            <a:r>
              <a:rPr lang="de-DE" altLang="en-US"/>
              <a:t>Dritte Ebene</a:t>
            </a:r>
          </a:p>
          <a:p>
            <a:pPr lvl="3"/>
            <a:r>
              <a:rPr lang="de-DE" altLang="en-US"/>
              <a:t>Vierte Ebene</a:t>
            </a:r>
          </a:p>
          <a:p>
            <a:pPr lvl="4"/>
            <a:r>
              <a:rPr lang="de-DE" altLang="en-US"/>
              <a:t>Fünfte Ebene</a:t>
            </a:r>
            <a:endParaRPr lang="en-US" altLang="en-US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56217" y="6458411"/>
            <a:ext cx="76708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eaLnBrk="0" hangingPunct="0">
              <a:spcAft>
                <a:spcPts val="600"/>
              </a:spcAft>
              <a:tabLst>
                <a:tab pos="441325" algn="l"/>
              </a:tabLst>
              <a:defRPr sz="800" b="0"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  <p:sp>
        <p:nvSpPr>
          <p:cNvPr id="7174" name="Rectangle 6"/>
          <p:cNvSpPr>
            <a:spLocks noChangeArrowheads="1"/>
          </p:cNvSpPr>
          <p:nvPr/>
        </p:nvSpPr>
        <p:spPr bwMode="auto">
          <a:xfrm>
            <a:off x="391584" y="6483350"/>
            <a:ext cx="742949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eaLnBrk="0" hangingPunct="0">
              <a:spcAft>
                <a:spcPts val="600"/>
              </a:spcAft>
              <a:tabLst>
                <a:tab pos="441325" algn="l"/>
              </a:tabLst>
              <a:defRPr/>
            </a:pPr>
            <a:fld id="{974B40FB-612E-435B-B627-187A21F7DD64}" type="slidenum">
              <a:rPr lang="en-US" sz="1200"/>
              <a:pPr eaLnBrk="0" hangingPunct="0">
                <a:spcAft>
                  <a:spcPts val="600"/>
                </a:spcAft>
                <a:tabLst>
                  <a:tab pos="441325" algn="l"/>
                </a:tabLst>
                <a:defRPr/>
              </a:pPr>
              <a:t>‹#›</a:t>
            </a:fld>
            <a:r>
              <a:rPr lang="en-US" sz="1200"/>
              <a:t>	</a:t>
            </a:r>
          </a:p>
        </p:txBody>
      </p:sp>
      <p:pic>
        <p:nvPicPr>
          <p:cNvPr id="3079" name="Picture 8" descr="new logo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86434" y="6403976"/>
            <a:ext cx="1176251" cy="349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81080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2" r:id="rId1"/>
    <p:sldLayoutId id="2147484783" r:id="rId2"/>
    <p:sldLayoutId id="2147484784" r:id="rId3"/>
    <p:sldLayoutId id="2147484785" r:id="rId4"/>
    <p:sldLayoutId id="2147484786" r:id="rId5"/>
    <p:sldLayoutId id="2147484787" r:id="rId6"/>
    <p:sldLayoutId id="2147484788" r:id="rId7"/>
    <p:sldLayoutId id="2147484789" r:id="rId8"/>
    <p:sldLayoutId id="2147484790" r:id="rId9"/>
    <p:sldLayoutId id="2147484791" r:id="rId10"/>
    <p:sldLayoutId id="2147484792" r:id="rId11"/>
  </p:sldLayoutIdLst>
  <p:transition>
    <p:wipe dir="r"/>
  </p:transition>
  <p:hf sldNum="0" hdr="0" dt="0"/>
  <p:txStyles>
    <p:titleStyle>
      <a:lvl1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85750" indent="-285750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Font typeface="Arial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676275" indent="-27622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Font typeface="Arial" charset="0"/>
        <a:buChar char="-"/>
        <a:defRPr sz="2000">
          <a:solidFill>
            <a:schemeClr val="tx1"/>
          </a:solidFill>
          <a:latin typeface="+mn-lt"/>
        </a:defRPr>
      </a:lvl2pPr>
      <a:lvl3pPr marL="1144588" indent="-287338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3pPr>
      <a:lvl4pPr marL="1619250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Font typeface="Arial" charset="0"/>
        <a:buChar char="-"/>
        <a:defRPr sz="2000">
          <a:solidFill>
            <a:schemeClr val="tx1"/>
          </a:solidFill>
          <a:latin typeface="+mn-lt"/>
        </a:defRPr>
      </a:lvl4pPr>
      <a:lvl5pPr marL="20939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5pPr>
      <a:lvl6pPr marL="25511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6pPr>
      <a:lvl7pPr marL="30083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7pPr>
      <a:lvl8pPr marL="34655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8pPr>
      <a:lvl9pPr marL="39227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63DF789-F497-5BC8-9DDE-DB9C65F4C93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8449" y="0"/>
            <a:ext cx="1228890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7083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12C9371-F209-431F-9B16-71025A3F25BE}"/>
              </a:ext>
            </a:extLst>
          </p:cNvPr>
          <p:cNvSpPr/>
          <p:nvPr/>
        </p:nvSpPr>
        <p:spPr>
          <a:xfrm>
            <a:off x="334511" y="1035005"/>
            <a:ext cx="4828875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Для каждого поля устанавливается нормативный уровень осадков. </a:t>
            </a:r>
          </a:p>
          <a:p>
            <a:endParaRPr lang="ru-RU" sz="1600" dirty="0"/>
          </a:p>
          <a:p>
            <a:r>
              <a:rPr lang="ru-RU" sz="1600" b="1" dirty="0">
                <a:solidFill>
                  <a:srgbClr val="5E595D"/>
                </a:solidFill>
              </a:rPr>
              <a:t>Избыточные дожди</a:t>
            </a:r>
            <a:r>
              <a:rPr lang="ru-RU" sz="1600" b="1" dirty="0">
                <a:solidFill>
                  <a:schemeClr val="accent6"/>
                </a:solidFill>
              </a:rPr>
              <a:t>: </a:t>
            </a:r>
            <a:r>
              <a:rPr lang="ru-RU" sz="1600" dirty="0"/>
              <a:t>если сумма осадков достигла установленного уровня нормы</a:t>
            </a:r>
            <a:r>
              <a:rPr lang="en-US" sz="1600" dirty="0"/>
              <a:t>,</a:t>
            </a:r>
            <a:r>
              <a:rPr lang="ru-RU" sz="1600" dirty="0"/>
              <a:t> то за каждый мм осадков сверх установленного уровня начисляется выплата.</a:t>
            </a:r>
          </a:p>
          <a:p>
            <a:r>
              <a:rPr lang="ru-RU" sz="1600" dirty="0"/>
              <a:t>Выплата = (фактический уровень осадков – норма осадков) х % за мм</a:t>
            </a:r>
          </a:p>
          <a:p>
            <a:endParaRPr lang="ru-RU" sz="1600" dirty="0"/>
          </a:p>
          <a:p>
            <a:r>
              <a:rPr lang="ru-RU" sz="1600" b="1" dirty="0">
                <a:solidFill>
                  <a:srgbClr val="5E595D"/>
                </a:solidFill>
              </a:rPr>
              <a:t>Засуха</a:t>
            </a:r>
            <a:r>
              <a:rPr lang="ru-RU" sz="1600" b="1" dirty="0">
                <a:solidFill>
                  <a:schemeClr val="accent6"/>
                </a:solidFill>
              </a:rPr>
              <a:t>:</a:t>
            </a:r>
            <a:r>
              <a:rPr lang="ru-RU" sz="1600" dirty="0"/>
              <a:t> если сумма осадков за период не достигла этого уровня, за каждый мм осадков, необходимых для достижения установленного</a:t>
            </a:r>
          </a:p>
          <a:p>
            <a:r>
              <a:rPr lang="ru-RU" sz="1600" dirty="0"/>
              <a:t>нормативного уровня, начисляется выплата.</a:t>
            </a:r>
          </a:p>
          <a:p>
            <a:r>
              <a:rPr lang="ru-RU" sz="1600" dirty="0"/>
              <a:t>Выплата = (норма осадков – фактический уровень осадков) х % за мм</a:t>
            </a:r>
          </a:p>
          <a:p>
            <a:endParaRPr lang="ru-RU" sz="1600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369C57B-85D4-474A-82B7-D509E911434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408"/>
          <a:stretch/>
        </p:blipFill>
        <p:spPr>
          <a:xfrm>
            <a:off x="5407476" y="989849"/>
            <a:ext cx="6578555" cy="5155457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A964EC84-1D1E-E116-116B-96606109B791}"/>
              </a:ext>
            </a:extLst>
          </p:cNvPr>
          <p:cNvSpPr txBox="1">
            <a:spLocks/>
          </p:cNvSpPr>
          <p:nvPr/>
        </p:nvSpPr>
        <p:spPr bwMode="auto">
          <a:xfrm>
            <a:off x="379667" y="295714"/>
            <a:ext cx="6902137" cy="6038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3200" kern="0">
                <a:solidFill>
                  <a:srgbClr val="007E69"/>
                </a:solidFill>
                <a:latin typeface="+mj-lt"/>
                <a:ea typeface="+mj-ea"/>
                <a:cs typeface="+mj-cs"/>
              </a:defRPr>
            </a:lvl1pPr>
            <a:lvl2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dirty="0"/>
              <a:t>Засуха и избыточные дожди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962B4EC-7827-2E51-5D67-C7AE57AE387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19439" y="239210"/>
            <a:ext cx="2365460" cy="729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318445"/>
      </p:ext>
    </p:extLst>
  </p:cSld>
  <p:clrMapOvr>
    <a:masterClrMapping/>
  </p:clrMapOvr>
  <p:transition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897C78E4-FADA-4ABE-AB02-6E4D2C1E000C}"/>
              </a:ext>
            </a:extLst>
          </p:cNvPr>
          <p:cNvSpPr/>
          <p:nvPr/>
        </p:nvSpPr>
        <p:spPr>
          <a:xfrm>
            <a:off x="165313" y="1009595"/>
            <a:ext cx="11277387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7E69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День с повышенной температурой — максимальная суточная температура равна или выше +33 °С.</a:t>
            </a:r>
          </a:p>
          <a:p>
            <a:pPr marL="285750" indent="-285750">
              <a:buClr>
                <a:srgbClr val="007E69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День с пониженной температурой — минимальная суточная температура равна или ниже -1 °С.</a:t>
            </a:r>
          </a:p>
          <a:p>
            <a:pPr marL="285750" indent="-285750">
              <a:buClr>
                <a:srgbClr val="007E69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Для каждого поля устанавливается нормативное количество дней с повышенной или пониженной температурой  в указанный период риска.</a:t>
            </a:r>
          </a:p>
          <a:p>
            <a:pPr marL="285750" indent="-285750">
              <a:buClr>
                <a:srgbClr val="007E69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За каждый следующий день с температурой  погодного риска начисляется выплата. </a:t>
            </a:r>
          </a:p>
          <a:p>
            <a:pPr marL="285750" indent="-285750">
              <a:buClr>
                <a:srgbClr val="007E69"/>
              </a:buClr>
              <a:buFont typeface="Arial" panose="020B0604020202020204" pitchFamily="34" charset="0"/>
              <a:buChar char="•"/>
            </a:pPr>
            <a:endParaRPr lang="ru-RU" sz="1600" dirty="0"/>
          </a:p>
          <a:p>
            <a:pPr marL="285750" indent="-285750">
              <a:buClr>
                <a:srgbClr val="007E69"/>
              </a:buClr>
              <a:buFont typeface="Arial" panose="020B0604020202020204" pitchFamily="34" charset="0"/>
              <a:buChar char="•"/>
            </a:pPr>
            <a:endParaRPr lang="ru-RU" sz="1600" dirty="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9CAFD489-40AC-4723-A213-CBBBB8B3B7C4}"/>
              </a:ext>
            </a:extLst>
          </p:cNvPr>
          <p:cNvSpPr/>
          <p:nvPr/>
        </p:nvSpPr>
        <p:spPr>
          <a:xfrm>
            <a:off x="6435335" y="2674563"/>
            <a:ext cx="418789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1" dirty="0">
                <a:solidFill>
                  <a:srgbClr val="007E69"/>
                </a:solidFill>
              </a:rPr>
              <a:t>Пример:</a:t>
            </a:r>
          </a:p>
          <a:p>
            <a:r>
              <a:rPr lang="ru-RU" sz="1400" i="1" dirty="0">
                <a:solidFill>
                  <a:srgbClr val="007E69"/>
                </a:solidFill>
              </a:rPr>
              <a:t> </a:t>
            </a:r>
          </a:p>
          <a:p>
            <a:r>
              <a:rPr lang="ru-RU" sz="1400" i="1" dirty="0">
                <a:solidFill>
                  <a:srgbClr val="007E69"/>
                </a:solidFill>
              </a:rPr>
              <a:t>За период риска было 5 дней с повышенной температурой:</a:t>
            </a:r>
          </a:p>
          <a:p>
            <a:r>
              <a:rPr lang="ru-RU" sz="1400" i="1" dirty="0">
                <a:solidFill>
                  <a:srgbClr val="007E69"/>
                </a:solidFill>
              </a:rPr>
              <a:t>Выплата = (5 дней – 2 дня) х 3,5 % = 10,5 % </a:t>
            </a:r>
            <a:endParaRPr lang="ru-RU" sz="1400" dirty="0">
              <a:solidFill>
                <a:srgbClr val="007E69"/>
              </a:solidFill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EF544E4-E194-4D97-A5A6-A905B5D61A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013" y="3518415"/>
            <a:ext cx="5031464" cy="2519362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A2EEF9B-B3D1-4E9E-963E-D00AB26A9D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014" y="2557634"/>
            <a:ext cx="5031464" cy="96078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DCD6D000-7609-3DDD-F1A5-B9982337F09C}"/>
              </a:ext>
            </a:extLst>
          </p:cNvPr>
          <p:cNvSpPr txBox="1">
            <a:spLocks/>
          </p:cNvSpPr>
          <p:nvPr/>
        </p:nvSpPr>
        <p:spPr bwMode="auto">
          <a:xfrm>
            <a:off x="379667" y="295714"/>
            <a:ext cx="6902137" cy="6038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3200" kern="0">
                <a:solidFill>
                  <a:srgbClr val="007E69"/>
                </a:solidFill>
                <a:latin typeface="+mj-lt"/>
                <a:ea typeface="+mj-ea"/>
                <a:cs typeface="+mj-cs"/>
              </a:defRPr>
            </a:lvl1pPr>
            <a:lvl2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3200" kern="0" dirty="0">
                <a:solidFill>
                  <a:srgbClr val="007E69"/>
                </a:solidFill>
                <a:latin typeface="+mj-lt"/>
                <a:ea typeface="+mj-ea"/>
                <a:cs typeface="+mj-cs"/>
              </a:rPr>
              <a:t>Жара и заморозки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0A6AFD4-E915-38C3-8141-4513F257A8D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19439" y="239210"/>
            <a:ext cx="2365460" cy="729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6831194"/>
      </p:ext>
    </p:extLst>
  </p:cSld>
  <p:clrMapOvr>
    <a:masterClrMapping/>
  </p:clrMapOvr>
  <p:transition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8E618DFF-3B4B-4A2D-8DE8-0ED9828C66B4}"/>
              </a:ext>
            </a:extLst>
          </p:cNvPr>
          <p:cNvSpPr txBox="1"/>
          <p:nvPr/>
        </p:nvSpPr>
        <p:spPr>
          <a:xfrm>
            <a:off x="5181597" y="1059387"/>
            <a:ext cx="6527450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0" i="0" u="none" strike="noStrike" baseline="0" dirty="0">
                <a:solidFill>
                  <a:schemeClr val="tx1">
                    <a:lumMod val="50000"/>
                  </a:schemeClr>
                </a:solidFill>
              </a:rPr>
              <a:t>1. После создания заявки участник получит письмо-уведомление. </a:t>
            </a:r>
          </a:p>
          <a:p>
            <a:r>
              <a:rPr lang="ru-RU" sz="1400" b="0" i="0" u="none" strike="noStrike" baseline="0" dirty="0">
                <a:solidFill>
                  <a:schemeClr val="tx1">
                    <a:lumMod val="50000"/>
                  </a:schemeClr>
                </a:solidFill>
              </a:rPr>
              <a:t>Далее каждое изменение статуса заявки (Одобрено, Есть\Нет выплат, Отклонена) также будет приходить менеджеру и участнику</a:t>
            </a:r>
          </a:p>
          <a:p>
            <a:r>
              <a:rPr lang="ru-RU" sz="1400" dirty="0">
                <a:solidFill>
                  <a:schemeClr val="tx1">
                    <a:lumMod val="50000"/>
                  </a:schemeClr>
                </a:solidFill>
              </a:rPr>
              <a:t>2. Когда закупка будет подтверждена, заявка получит статус «Одобрена»</a:t>
            </a:r>
          </a:p>
          <a:p>
            <a:r>
              <a:rPr lang="ru-RU" sz="1400" dirty="0">
                <a:solidFill>
                  <a:schemeClr val="tx1">
                    <a:lumMod val="50000"/>
                  </a:schemeClr>
                </a:solidFill>
              </a:rPr>
              <a:t>3. </a:t>
            </a:r>
            <a:r>
              <a:rPr lang="en-US" sz="1400" b="1" i="1" dirty="0">
                <a:solidFill>
                  <a:srgbClr val="03E5BD"/>
                </a:solidFill>
              </a:rPr>
              <a:t>NEW!</a:t>
            </a:r>
            <a:r>
              <a:rPr lang="ru-RU" sz="1400" dirty="0">
                <a:solidFill>
                  <a:schemeClr val="tx1">
                    <a:lumMod val="50000"/>
                  </a:schemeClr>
                </a:solidFill>
              </a:rPr>
              <a:t>  После этого участник получат письмо с ссылкой, по которой они смогут в течение </a:t>
            </a:r>
            <a:r>
              <a:rPr lang="ru-RU" sz="1400" u="sng" dirty="0">
                <a:solidFill>
                  <a:schemeClr val="tx1">
                    <a:lumMod val="50000"/>
                  </a:schemeClr>
                </a:solidFill>
              </a:rPr>
              <a:t>всего периода </a:t>
            </a:r>
            <a:r>
              <a:rPr lang="ru-RU" sz="1400" dirty="0">
                <a:solidFill>
                  <a:schemeClr val="tx1">
                    <a:lumMod val="50000"/>
                  </a:schemeClr>
                </a:solidFill>
              </a:rPr>
              <a:t>отслеживать риск: количество жарких дней и осадки </a:t>
            </a:r>
            <a:endParaRPr lang="ru-RU" sz="1400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C63EF47-D831-49CC-B308-DE0674E7A4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953" y="1149698"/>
            <a:ext cx="4420292" cy="4291546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E67747C7-E1E4-44F8-8D0B-3B412AC969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5136" y="2779593"/>
            <a:ext cx="5020027" cy="3225428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39DAF5D4-D06F-DBE4-53A2-309D20B6AE28}"/>
              </a:ext>
            </a:extLst>
          </p:cNvPr>
          <p:cNvSpPr txBox="1">
            <a:spLocks/>
          </p:cNvSpPr>
          <p:nvPr/>
        </p:nvSpPr>
        <p:spPr bwMode="auto">
          <a:xfrm>
            <a:off x="379667" y="295714"/>
            <a:ext cx="6902137" cy="60382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3200" kern="0">
                <a:solidFill>
                  <a:srgbClr val="007E69"/>
                </a:solidFill>
                <a:latin typeface="+mj-lt"/>
                <a:ea typeface="+mj-ea"/>
                <a:cs typeface="+mj-cs"/>
              </a:defRPr>
            </a:lvl1pPr>
            <a:lvl2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dirty="0"/>
              <a:t>Электронное уведомление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D0AC451-9CD0-7256-9AE6-9F998E5F0C1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19439" y="239210"/>
            <a:ext cx="2365460" cy="729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273000"/>
      </p:ext>
    </p:extLst>
  </p:cSld>
  <p:clrMapOvr>
    <a:masterClrMapping/>
  </p:clrMapOvr>
  <p:transition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9AAEAB4-710D-569D-BD25-738A72FB5069}"/>
              </a:ext>
            </a:extLst>
          </p:cNvPr>
          <p:cNvSpPr txBox="1"/>
          <p:nvPr/>
        </p:nvSpPr>
        <p:spPr>
          <a:xfrm>
            <a:off x="626659" y="3490566"/>
            <a:ext cx="11011159" cy="2575233"/>
          </a:xfrm>
          <a:prstGeom prst="rect">
            <a:avLst/>
          </a:prstGeom>
          <a:noFill/>
        </p:spPr>
        <p:txBody>
          <a:bodyPr wrap="square" rtlCol="0">
            <a:normAutofit fontScale="85000" lnSpcReduction="20000"/>
          </a:bodyPr>
          <a:lstStyle/>
          <a:p>
            <a:pPr algn="l"/>
            <a:r>
              <a:rPr lang="ru-RU" sz="3200" dirty="0" err="1">
                <a:solidFill>
                  <a:srgbClr val="007E6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риклайм</a:t>
            </a:r>
            <a:r>
              <a:rPr lang="ru-RU" sz="3200" baseline="30000" dirty="0">
                <a:solidFill>
                  <a:srgbClr val="007E6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®</a:t>
            </a:r>
            <a:r>
              <a:rPr lang="ru-RU" sz="3200" dirty="0">
                <a:solidFill>
                  <a:srgbClr val="007E6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200" i="0" dirty="0">
                <a:solidFill>
                  <a:srgbClr val="007E69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— защита ваших инвестиций от погодных рисков</a:t>
            </a:r>
            <a:endParaRPr lang="en-US" sz="3200" i="0" dirty="0">
              <a:solidFill>
                <a:srgbClr val="007E69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ru-RU" sz="20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lnSpc>
                <a:spcPct val="110000"/>
              </a:lnSpc>
            </a:pPr>
            <a:r>
              <a:rPr lang="ru-RU" sz="1900" dirty="0">
                <a:latin typeface="Arial" panose="020B0604020202020204" pitchFamily="34" charset="0"/>
                <a:cs typeface="Arial" panose="020B0604020202020204" pitchFamily="34" charset="0"/>
              </a:rPr>
              <a:t>Программа погодной гарантии </a:t>
            </a:r>
            <a:r>
              <a:rPr lang="ru-RU" sz="1900" dirty="0" err="1">
                <a:latin typeface="Arial" panose="020B0604020202020204" pitchFamily="34" charset="0"/>
                <a:cs typeface="Arial" panose="020B0604020202020204" pitchFamily="34" charset="0"/>
              </a:rPr>
              <a:t>Агриклайм</a:t>
            </a:r>
            <a:r>
              <a:rPr lang="ru-RU" sz="1900" baseline="30000" dirty="0">
                <a:latin typeface="Arial" panose="020B0604020202020204" pitchFamily="34" charset="0"/>
                <a:cs typeface="Arial" panose="020B0604020202020204" pitchFamily="34" charset="0"/>
              </a:rPr>
              <a:t>®</a:t>
            </a:r>
            <a:r>
              <a:rPr lang="ru-RU" sz="1900" dirty="0">
                <a:latin typeface="Arial" panose="020B0604020202020204" pitchFamily="34" charset="0"/>
                <a:cs typeface="Arial" panose="020B0604020202020204" pitchFamily="34" charset="0"/>
              </a:rPr>
              <a:t> предлагает своим клиентам простое решение по защите инвестиций в продукты компании «</a:t>
            </a:r>
            <a:r>
              <a:rPr lang="ru-RU" sz="1900" dirty="0" err="1">
                <a:latin typeface="Arial" panose="020B0604020202020204" pitchFamily="34" charset="0"/>
                <a:cs typeface="Arial" panose="020B0604020202020204" pitchFamily="34" charset="0"/>
              </a:rPr>
              <a:t>Сингента</a:t>
            </a:r>
            <a:r>
              <a:rPr lang="ru-RU" sz="1900" dirty="0">
                <a:latin typeface="Arial" panose="020B0604020202020204" pitchFamily="34" charset="0"/>
                <a:cs typeface="Arial" panose="020B0604020202020204" pitchFamily="34" charset="0"/>
              </a:rPr>
              <a:t>» от погодных рисков в критические агрономические периоды роста культур с максимальной выплатой до </a:t>
            </a:r>
            <a:r>
              <a:rPr lang="ru-RU" sz="1900" b="1" dirty="0">
                <a:latin typeface="Arial" panose="020B0604020202020204" pitchFamily="34" charset="0"/>
                <a:cs typeface="Arial" panose="020B0604020202020204" pitchFamily="34" charset="0"/>
              </a:rPr>
              <a:t>35%</a:t>
            </a:r>
            <a:r>
              <a:rPr lang="ru-RU" sz="19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endParaRPr lang="ru-RU" sz="1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10000"/>
              </a:lnSpc>
              <a:buClr>
                <a:srgbClr val="007E69"/>
              </a:buClr>
              <a:buFont typeface="Arial" panose="020B0604020202020204" pitchFamily="34" charset="0"/>
              <a:buChar char="•"/>
            </a:pPr>
            <a:r>
              <a:rPr lang="ru-RU" sz="1900" dirty="0">
                <a:solidFill>
                  <a:srgbClr val="5E595D"/>
                </a:solidFill>
                <a:latin typeface="+mn-lt"/>
              </a:rPr>
              <a:t>Участие в программе </a:t>
            </a:r>
            <a:r>
              <a:rPr lang="ru-RU" sz="1900" dirty="0" err="1">
                <a:solidFill>
                  <a:srgbClr val="5E595D"/>
                </a:solidFill>
                <a:latin typeface="+mn-lt"/>
              </a:rPr>
              <a:t>Агриклайм</a:t>
            </a:r>
            <a:r>
              <a:rPr lang="ru-RU" sz="1900" baseline="30000" dirty="0">
                <a:solidFill>
                  <a:srgbClr val="5E595D"/>
                </a:solidFill>
                <a:latin typeface="+mn-lt"/>
              </a:rPr>
              <a:t>®</a:t>
            </a:r>
            <a:r>
              <a:rPr lang="ru-RU" sz="1900" dirty="0">
                <a:solidFill>
                  <a:srgbClr val="5E595D"/>
                </a:solidFill>
                <a:latin typeface="+mn-lt"/>
              </a:rPr>
              <a:t> не требует дополнительных затрат! Главное для </a:t>
            </a:r>
            <a:r>
              <a:rPr lang="ru-RU" sz="1900" dirty="0" err="1">
                <a:solidFill>
                  <a:srgbClr val="5E595D"/>
                </a:solidFill>
                <a:latin typeface="+mn-lt"/>
              </a:rPr>
              <a:t>Агропроизводителя</a:t>
            </a:r>
            <a:r>
              <a:rPr lang="ru-RU" sz="1900" dirty="0">
                <a:solidFill>
                  <a:srgbClr val="5E595D"/>
                </a:solidFill>
                <a:latin typeface="+mn-lt"/>
              </a:rPr>
              <a:t> </a:t>
            </a:r>
            <a:r>
              <a:rPr lang="en-US" sz="1900" dirty="0">
                <a:solidFill>
                  <a:srgbClr val="5E595D"/>
                </a:solidFill>
                <a:latin typeface="+mn-lt"/>
              </a:rPr>
              <a:t>—</a:t>
            </a:r>
            <a:r>
              <a:rPr lang="ru-RU" sz="1900" dirty="0">
                <a:solidFill>
                  <a:srgbClr val="5E595D"/>
                </a:solidFill>
                <a:latin typeface="+mn-lt"/>
              </a:rPr>
              <a:t> выполнить условие закупки.</a:t>
            </a:r>
          </a:p>
          <a:p>
            <a:pPr marL="742950" lvl="1" indent="-285750">
              <a:lnSpc>
                <a:spcPct val="110000"/>
              </a:lnSpc>
              <a:buClr>
                <a:srgbClr val="007E69"/>
              </a:buClr>
              <a:buFont typeface="Arial" panose="020B0604020202020204" pitchFamily="34" charset="0"/>
              <a:buChar char="•"/>
            </a:pPr>
            <a:r>
              <a:rPr lang="ru-RU" sz="1900" dirty="0">
                <a:solidFill>
                  <a:srgbClr val="5E595D"/>
                </a:solidFill>
                <a:latin typeface="+mn-lt"/>
              </a:rPr>
              <a:t>Мы оцениваем погодный фактор на поле, а не урожайность.</a:t>
            </a:r>
          </a:p>
          <a:p>
            <a:pPr marL="742950" lvl="1" indent="-285750">
              <a:lnSpc>
                <a:spcPct val="110000"/>
              </a:lnSpc>
              <a:buClr>
                <a:srgbClr val="007E69"/>
              </a:buClr>
              <a:buFont typeface="Arial" panose="020B0604020202020204" pitchFamily="34" charset="0"/>
              <a:buChar char="•"/>
            </a:pPr>
            <a:r>
              <a:rPr lang="ru-RU" sz="1900" dirty="0">
                <a:solidFill>
                  <a:srgbClr val="5E595D"/>
                </a:solidFill>
                <a:latin typeface="+mn-lt"/>
              </a:rPr>
              <a:t>Удобная система оценки риска на основании исторических погодных данных за последние 20 лет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en-RU" sz="2000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FC0EEDB-04FA-5323-FB94-E29BA94F7F6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"/>
          <a:stretch/>
        </p:blipFill>
        <p:spPr>
          <a:xfrm>
            <a:off x="-631" y="0"/>
            <a:ext cx="12192000" cy="307514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5935614-7EF1-7C02-C449-AADB9A87C0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6291" y="2384215"/>
            <a:ext cx="693682" cy="1018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6048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11AA4B-4C75-45F8-AE81-94388FCADD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378" y="502573"/>
            <a:ext cx="6902137" cy="603827"/>
          </a:xfrm>
        </p:spPr>
        <p:txBody>
          <a:bodyPr/>
          <a:lstStyle/>
          <a:p>
            <a:r>
              <a:rPr lang="ru-RU" sz="3200" b="0" dirty="0" err="1">
                <a:solidFill>
                  <a:srgbClr val="007E69"/>
                </a:solidFill>
              </a:rPr>
              <a:t>Агриклайм</a:t>
            </a:r>
            <a:r>
              <a:rPr lang="ru-RU" sz="3200" b="0" baseline="30000" dirty="0">
                <a:solidFill>
                  <a:srgbClr val="007E69"/>
                </a:solidFill>
              </a:rPr>
              <a:t>®</a:t>
            </a:r>
            <a:r>
              <a:rPr lang="ru-RU" sz="3200" b="0" dirty="0">
                <a:solidFill>
                  <a:srgbClr val="007E69"/>
                </a:solidFill>
              </a:rPr>
              <a:t>. Зерновые </a:t>
            </a:r>
            <a:br>
              <a:rPr lang="ru-RU" sz="3200" b="0" dirty="0">
                <a:solidFill>
                  <a:srgbClr val="007E69"/>
                </a:solidFill>
              </a:rPr>
            </a:br>
            <a:r>
              <a:rPr lang="ru-RU" sz="3200" b="0" dirty="0">
                <a:solidFill>
                  <a:srgbClr val="007E69"/>
                </a:solidFill>
              </a:rPr>
              <a:t>До </a:t>
            </a:r>
            <a:r>
              <a:rPr lang="ru-RU" sz="3200" dirty="0">
                <a:solidFill>
                  <a:srgbClr val="007E69"/>
                </a:solidFill>
              </a:rPr>
              <a:t>35</a:t>
            </a:r>
            <a:r>
              <a:rPr lang="ru-RU" sz="3200" b="0" dirty="0">
                <a:solidFill>
                  <a:srgbClr val="007E69"/>
                </a:solidFill>
              </a:rPr>
              <a:t> % выплат</a:t>
            </a:r>
            <a:endParaRPr lang="en-US" sz="3200" b="0" dirty="0">
              <a:solidFill>
                <a:srgbClr val="007E69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126B31-FF2F-4F54-954A-104C8C343F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8378" y="1419276"/>
            <a:ext cx="9002861" cy="3896978"/>
          </a:xfrm>
        </p:spPr>
        <p:txBody>
          <a:bodyPr/>
          <a:lstStyle/>
          <a:p>
            <a:pPr marL="0" indent="0">
              <a:buNone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E6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годные риски: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E595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5E595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жара (+33 °С) и засуха </a:t>
            </a:r>
          </a:p>
          <a:p>
            <a:pPr marL="0" indent="0">
              <a:buNone/>
            </a:pPr>
            <a:r>
              <a:rPr lang="ru-RU" sz="1600" dirty="0" err="1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ропроизводитель</a:t>
            </a:r>
            <a:r>
              <a:rPr lang="ru-RU" sz="160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ключает в программу любой продукт из списка, если:</a:t>
            </a:r>
          </a:p>
          <a:p>
            <a:pPr>
              <a:buClr>
                <a:srgbClr val="007E69"/>
              </a:buClr>
            </a:pPr>
            <a:r>
              <a:rPr lang="ru-RU" sz="160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 его покупки увеличивается на 10 % (л, кг) к прошлому году;</a:t>
            </a:r>
          </a:p>
          <a:p>
            <a:pPr>
              <a:buClr>
                <a:srgbClr val="007E69"/>
              </a:buClr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инимальная площадь покрытия — 200 га. </a:t>
            </a:r>
            <a:endParaRPr lang="ru-RU" sz="1600" dirty="0">
              <a:solidFill>
                <a:srgbClr val="5E595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lvl="1" indent="0">
              <a:buNone/>
            </a:pPr>
            <a:endParaRPr lang="ru-RU" sz="1600" dirty="0">
              <a:solidFill>
                <a:srgbClr val="5E595D"/>
              </a:solidFill>
            </a:endParaRPr>
          </a:p>
          <a:p>
            <a:pPr marL="400050" lvl="1" indent="0">
              <a:buNone/>
            </a:pPr>
            <a:r>
              <a:rPr lang="ru-RU" sz="1600" b="1" dirty="0">
                <a:solidFill>
                  <a:srgbClr val="007E69"/>
                </a:solidFill>
              </a:rPr>
              <a:t>Фунгициды: </a:t>
            </a:r>
            <a:r>
              <a:rPr lang="ru-RU" sz="1600" dirty="0">
                <a:solidFill>
                  <a:srgbClr val="007E69"/>
                </a:solidFill>
              </a:rPr>
              <a:t>ЭЛАТУС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 Эйс, ЭЛАТУС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 Риа, МАГНЕЛЛО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 МИРАВИС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 Эйс</a:t>
            </a:r>
          </a:p>
          <a:p>
            <a:pPr marL="400050" lvl="1" indent="0">
              <a:buNone/>
            </a:pPr>
            <a:r>
              <a:rPr lang="ru-RU" sz="1600" b="1" dirty="0">
                <a:solidFill>
                  <a:srgbClr val="007E69"/>
                </a:solidFill>
              </a:rPr>
              <a:t>Регулятор роста: </a:t>
            </a:r>
            <a:r>
              <a:rPr lang="ru-RU" sz="1600" dirty="0">
                <a:solidFill>
                  <a:srgbClr val="007E69"/>
                </a:solidFill>
              </a:rPr>
              <a:t>МОДДУС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endParaRPr lang="ru-RU" sz="1600" dirty="0">
              <a:solidFill>
                <a:srgbClr val="007E69"/>
              </a:solidFill>
            </a:endParaRPr>
          </a:p>
          <a:p>
            <a:pPr marL="400050" lvl="1" indent="0">
              <a:buNone/>
            </a:pPr>
            <a:r>
              <a:rPr lang="ru-RU" sz="1600" b="1" dirty="0">
                <a:solidFill>
                  <a:srgbClr val="007E69"/>
                </a:solidFill>
              </a:rPr>
              <a:t>Гербициды: </a:t>
            </a:r>
            <a:r>
              <a:rPr lang="ru-RU" sz="1600" dirty="0">
                <a:solidFill>
                  <a:srgbClr val="007E69"/>
                </a:solidFill>
              </a:rPr>
              <a:t>АКСИАЛ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 АКСИАЛ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 Кросс, ПАЛЛАС™ 45, ПРИМА™ Форте, ДЕРБИ™ 175 </a:t>
            </a:r>
          </a:p>
          <a:p>
            <a:pPr marL="400050" lvl="1" indent="0">
              <a:buNone/>
            </a:pPr>
            <a:r>
              <a:rPr lang="ru-RU" sz="1600" b="1" dirty="0">
                <a:solidFill>
                  <a:srgbClr val="007E69"/>
                </a:solidFill>
              </a:rPr>
              <a:t>Инсектициды: </a:t>
            </a:r>
            <a:r>
              <a:rPr lang="ru-RU" sz="1600" dirty="0">
                <a:solidFill>
                  <a:srgbClr val="007E69"/>
                </a:solidFill>
              </a:rPr>
              <a:t>ЭФОРИЯ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 ЭФОРИЯ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 Топ</a:t>
            </a:r>
          </a:p>
          <a:p>
            <a:pPr marL="400050" lvl="1" indent="0">
              <a:buNone/>
            </a:pPr>
            <a:r>
              <a:rPr lang="ru-RU" sz="1600" b="1" dirty="0">
                <a:solidFill>
                  <a:srgbClr val="007E69"/>
                </a:solidFill>
              </a:rPr>
              <a:t>Протравители: </a:t>
            </a:r>
            <a:r>
              <a:rPr lang="ru-RU" sz="1600" dirty="0">
                <a:solidFill>
                  <a:srgbClr val="007E69"/>
                </a:solidFill>
              </a:rPr>
              <a:t>СЕЛЕСТ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 Макс, ВАЙБРАНС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 Интеграл, ВАЙБРАНС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 Трио</a:t>
            </a:r>
          </a:p>
          <a:p>
            <a:pPr marL="400050" lvl="1" indent="0">
              <a:buNone/>
            </a:pPr>
            <a:r>
              <a:rPr lang="ru-RU" sz="1600" b="1" dirty="0">
                <a:solidFill>
                  <a:srgbClr val="007E69"/>
                </a:solidFill>
              </a:rPr>
              <a:t>Биостимуляторы: </a:t>
            </a:r>
            <a:r>
              <a:rPr lang="ru-RU" sz="1600" dirty="0">
                <a:solidFill>
                  <a:srgbClr val="007E69"/>
                </a:solidFill>
              </a:rPr>
              <a:t>ЙЕЛД</a:t>
            </a:r>
            <a:r>
              <a:rPr lang="ru-RU" sz="1600" baseline="30000" dirty="0">
                <a:solidFill>
                  <a:srgbClr val="007E69"/>
                </a:solidFill>
              </a:rPr>
              <a:t>® </a:t>
            </a:r>
            <a:r>
              <a:rPr lang="ru-RU" sz="1600" dirty="0">
                <a:solidFill>
                  <a:srgbClr val="007E69"/>
                </a:solidFill>
              </a:rPr>
              <a:t>Он </a:t>
            </a:r>
          </a:p>
          <a:p>
            <a:pPr marL="400050" lvl="1" indent="0">
              <a:buNone/>
            </a:pPr>
            <a:r>
              <a:rPr lang="ru-RU" sz="1600" b="1" dirty="0">
                <a:solidFill>
                  <a:srgbClr val="007E69"/>
                </a:solidFill>
              </a:rPr>
              <a:t>Для Сибири и Волги: </a:t>
            </a:r>
            <a:r>
              <a:rPr lang="ru-RU" sz="1600" dirty="0">
                <a:solidFill>
                  <a:srgbClr val="007E69"/>
                </a:solidFill>
              </a:rPr>
              <a:t>АКСИАЛ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 + КАМАРО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 ДИВИДЕНД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 Суприм, АМИСТАР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 Экстра</a:t>
            </a:r>
          </a:p>
          <a:p>
            <a:pPr marL="400050" lvl="1" indent="0">
              <a:buNone/>
            </a:pPr>
            <a:endParaRPr lang="ru-RU" sz="1600" dirty="0">
              <a:solidFill>
                <a:srgbClr val="5E595D"/>
              </a:solidFill>
            </a:endParaRPr>
          </a:p>
          <a:p>
            <a:pPr marL="400050" lvl="1" indent="0">
              <a:buNone/>
            </a:pPr>
            <a:endParaRPr lang="ru-RU" sz="1600" dirty="0"/>
          </a:p>
          <a:p>
            <a:pPr marL="400050" lvl="1" indent="0">
              <a:buNone/>
            </a:pPr>
            <a:endParaRPr lang="ru-RU" sz="1600" dirty="0"/>
          </a:p>
          <a:p>
            <a:pPr marL="400050" lvl="1" indent="0">
              <a:buNone/>
            </a:pPr>
            <a:endParaRPr lang="en-US" sz="1600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4D1B837-CF74-44A0-9B24-629AA5596CCF}"/>
              </a:ext>
            </a:extLst>
          </p:cNvPr>
          <p:cNvSpPr/>
          <p:nvPr/>
        </p:nvSpPr>
        <p:spPr>
          <a:xfrm>
            <a:off x="-41537" y="5190548"/>
            <a:ext cx="473318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0050" lvl="1" indent="0">
              <a:buNone/>
            </a:pPr>
            <a:r>
              <a:rPr lang="ru-RU" sz="1600" b="1" dirty="0">
                <a:solidFill>
                  <a:srgbClr val="007E69"/>
                </a:solidFill>
                <a:latin typeface="+mn-lt"/>
              </a:rPr>
              <a:t>Периоды рисков</a:t>
            </a:r>
            <a:r>
              <a:rPr lang="ru-RU" sz="1600" b="1" dirty="0">
                <a:solidFill>
                  <a:srgbClr val="5E595D"/>
                </a:solidFill>
                <a:latin typeface="+mn-lt"/>
              </a:rPr>
              <a:t>:</a:t>
            </a:r>
          </a:p>
          <a:p>
            <a:pPr marL="742950" lvl="1" indent="-285750">
              <a:buClr>
                <a:srgbClr val="007E69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E595D"/>
                </a:solidFill>
                <a:latin typeface="+mn-lt"/>
              </a:rPr>
              <a:t>10 мая — 20 июня;</a:t>
            </a:r>
          </a:p>
          <a:p>
            <a:pPr marL="742950" lvl="1" indent="-285750">
              <a:buClr>
                <a:srgbClr val="007E69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E595D"/>
                </a:solidFill>
                <a:latin typeface="+mn-lt"/>
              </a:rPr>
              <a:t>15 июня — 1 августа.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4528472-5C3F-4517-9ACE-7349B309379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71239" y="0"/>
            <a:ext cx="2820761" cy="615935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5C2CE62-7E0D-481B-4356-B1AC493999C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0275" y="1364579"/>
            <a:ext cx="4371725" cy="4918054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09FC98F-8C82-8002-72BD-9C2C6F77F98C}"/>
              </a:ext>
            </a:extLst>
          </p:cNvPr>
          <p:cNvCxnSpPr/>
          <p:nvPr/>
        </p:nvCxnSpPr>
        <p:spPr bwMode="auto">
          <a:xfrm>
            <a:off x="354931" y="2796988"/>
            <a:ext cx="7202316" cy="0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007E69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E9BE0F56-0818-2E6A-FF4C-DBC0DFC61E7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80218" y="239210"/>
            <a:ext cx="2365460" cy="729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211231"/>
      </p:ext>
    </p:extLst>
  </p:cSld>
  <p:clrMapOvr>
    <a:masterClrMapping/>
  </p:clrMapOvr>
  <p:transition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0EE031C-45C4-4A21-B879-5D27F071DAFD}"/>
              </a:ext>
            </a:extLst>
          </p:cNvPr>
          <p:cNvSpPr/>
          <p:nvPr/>
        </p:nvSpPr>
        <p:spPr>
          <a:xfrm>
            <a:off x="460374" y="4479938"/>
            <a:ext cx="5172329" cy="140038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007E69"/>
                </a:solidFill>
              </a:rPr>
              <a:t>Периоды рисков</a:t>
            </a:r>
            <a:r>
              <a:rPr lang="ru-RU" sz="1600" b="1" dirty="0">
                <a:solidFill>
                  <a:srgbClr val="5E595D"/>
                </a:solidFill>
              </a:rPr>
              <a:t>:</a:t>
            </a:r>
          </a:p>
          <a:p>
            <a:pPr marL="685800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E595D"/>
                </a:solidFill>
              </a:rPr>
              <a:t>1 июня — 20 июля; </a:t>
            </a:r>
          </a:p>
          <a:p>
            <a:pPr marL="685800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E595D"/>
                </a:solidFill>
              </a:rPr>
              <a:t>20 июня — 10 августа; </a:t>
            </a:r>
          </a:p>
          <a:p>
            <a:pPr marL="685800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E595D"/>
                </a:solidFill>
              </a:rPr>
              <a:t>10 июля — 31 августа. </a:t>
            </a:r>
          </a:p>
          <a:p>
            <a:pPr marL="400050" lvl="1" indent="0">
              <a:buNone/>
            </a:pPr>
            <a:endParaRPr lang="en-US" sz="1600" dirty="0">
              <a:solidFill>
                <a:srgbClr val="5E595D"/>
              </a:solidFill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93C20D54-38E3-4066-ADC7-DFB9CE4C7D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8378" y="1383527"/>
            <a:ext cx="8988425" cy="1286394"/>
          </a:xfrm>
        </p:spPr>
        <p:txBody>
          <a:bodyPr/>
          <a:lstStyle/>
          <a:p>
            <a:pPr marL="0" indent="0">
              <a:buNone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7E6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годные риски: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5E595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жара (+33 °С) и засуха </a:t>
            </a:r>
          </a:p>
          <a:p>
            <a:pPr marL="0" indent="0">
              <a:buNone/>
            </a:pPr>
            <a:r>
              <a:rPr lang="ru-RU" sz="1600" dirty="0" err="1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ропроизводитель</a:t>
            </a:r>
            <a:r>
              <a:rPr lang="ru-RU" sz="160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ключает в программу любой продукт из списка, если:</a:t>
            </a:r>
          </a:p>
          <a:p>
            <a:pPr>
              <a:buClr>
                <a:srgbClr val="007E69"/>
              </a:buClr>
            </a:pPr>
            <a:r>
              <a:rPr lang="ru-RU" sz="160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 его покупки увеличивается на 10 % (л, кг) к прошлому году;</a:t>
            </a:r>
          </a:p>
          <a:p>
            <a:pPr>
              <a:buClr>
                <a:srgbClr val="007E69"/>
              </a:buClr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инимальная площадь покрытия — 200 га. </a:t>
            </a:r>
            <a:endParaRPr lang="ru-RU" sz="1600" dirty="0">
              <a:solidFill>
                <a:srgbClr val="5E595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lvl="1" indent="0">
              <a:buNone/>
            </a:pPr>
            <a:endParaRPr lang="en-US" sz="1600" dirty="0">
              <a:solidFill>
                <a:srgbClr val="5E595D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15C2597-A942-422C-827C-51FEBBBBE45C}"/>
              </a:ext>
            </a:extLst>
          </p:cNvPr>
          <p:cNvSpPr txBox="1"/>
          <p:nvPr/>
        </p:nvSpPr>
        <p:spPr>
          <a:xfrm>
            <a:off x="300059" y="2987751"/>
            <a:ext cx="795157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00050" lvl="1" defTabSz="957263">
              <a:spcAft>
                <a:spcPct val="25000"/>
              </a:spcAft>
              <a:buClr>
                <a:schemeClr val="tx2"/>
              </a:buClr>
            </a:pPr>
            <a:r>
              <a:rPr lang="ru-RU" sz="1600" b="1" dirty="0">
                <a:solidFill>
                  <a:srgbClr val="007E69"/>
                </a:solidFill>
                <a:latin typeface="+mn-lt"/>
              </a:rPr>
              <a:t>Фунгициды: 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АМИСТАР</a:t>
            </a:r>
            <a:r>
              <a:rPr lang="ru-RU" sz="1600" baseline="30000" dirty="0">
                <a:solidFill>
                  <a:srgbClr val="007E69"/>
                </a:solidFill>
                <a:latin typeface="+mn-lt"/>
              </a:rPr>
              <a:t>®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srgbClr val="007E69"/>
                </a:solidFill>
                <a:latin typeface="+mn-lt"/>
              </a:rPr>
              <a:t>Голд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 </a:t>
            </a:r>
          </a:p>
          <a:p>
            <a:pPr marL="400050" lvl="1" defTabSz="957263">
              <a:spcAft>
                <a:spcPct val="25000"/>
              </a:spcAft>
              <a:buClr>
                <a:schemeClr val="tx2"/>
              </a:buClr>
            </a:pPr>
            <a:r>
              <a:rPr lang="ru-RU" sz="1600" b="1" dirty="0">
                <a:solidFill>
                  <a:srgbClr val="007E69"/>
                </a:solidFill>
                <a:latin typeface="+mn-lt"/>
              </a:rPr>
              <a:t>Гербициды: 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КАПТОРА</a:t>
            </a:r>
            <a:r>
              <a:rPr lang="ru-RU" sz="1600" baseline="30000" dirty="0">
                <a:solidFill>
                  <a:srgbClr val="007E69"/>
                </a:solidFill>
                <a:latin typeface="+mn-lt"/>
              </a:rPr>
              <a:t>®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, КАПТОРА</a:t>
            </a:r>
            <a:r>
              <a:rPr lang="ru-RU" sz="1600" baseline="30000" dirty="0">
                <a:solidFill>
                  <a:srgbClr val="007E69"/>
                </a:solidFill>
                <a:latin typeface="+mn-lt"/>
              </a:rPr>
              <a:t>®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 Плюс, ЛИСТЕГО</a:t>
            </a:r>
            <a:r>
              <a:rPr lang="ru-RU" sz="1600" baseline="30000" dirty="0">
                <a:solidFill>
                  <a:srgbClr val="007E69"/>
                </a:solidFill>
                <a:latin typeface="+mn-lt"/>
              </a:rPr>
              <a:t>®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 Про, РЕГЛОН</a:t>
            </a:r>
            <a:r>
              <a:rPr lang="ru-RU" sz="1600" baseline="30000" dirty="0">
                <a:solidFill>
                  <a:srgbClr val="007E69"/>
                </a:solidFill>
                <a:latin typeface="+mn-lt"/>
              </a:rPr>
              <a:t>®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 Эйр, РЕГЛОН</a:t>
            </a:r>
            <a:r>
              <a:rPr lang="ru-RU" sz="1600" baseline="30000" dirty="0">
                <a:solidFill>
                  <a:srgbClr val="007E69"/>
                </a:solidFill>
                <a:latin typeface="+mn-lt"/>
              </a:rPr>
              <a:t>®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 Форте</a:t>
            </a:r>
            <a:endParaRPr lang="en-US" sz="1600" dirty="0">
              <a:solidFill>
                <a:srgbClr val="007E69"/>
              </a:solidFill>
              <a:latin typeface="+mn-lt"/>
            </a:endParaRPr>
          </a:p>
          <a:p>
            <a:pPr marL="400050" lvl="1" defTabSz="957263">
              <a:spcAft>
                <a:spcPct val="25000"/>
              </a:spcAft>
              <a:buClr>
                <a:schemeClr val="tx2"/>
              </a:buClr>
            </a:pPr>
            <a:r>
              <a:rPr lang="ru-RU" sz="1600" b="1" dirty="0">
                <a:solidFill>
                  <a:srgbClr val="007E69"/>
                </a:solidFill>
                <a:latin typeface="+mn-lt"/>
              </a:rPr>
              <a:t>Инсектицид: 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АМПЛИГО</a:t>
            </a:r>
            <a:r>
              <a:rPr lang="ru-RU" sz="1600" baseline="30000" dirty="0">
                <a:solidFill>
                  <a:srgbClr val="007E69"/>
                </a:solidFill>
                <a:latin typeface="+mn-lt"/>
              </a:rPr>
              <a:t>®</a:t>
            </a:r>
          </a:p>
        </p:txBody>
      </p:sp>
      <p:pic>
        <p:nvPicPr>
          <p:cNvPr id="7" name="Рисунок 6" descr="Изображение выглядит как растение, цветок, подсолнечник, желтый&#10;&#10;Автоматически созданное описание">
            <a:extLst>
              <a:ext uri="{FF2B5EF4-FFF2-40B4-BE49-F238E27FC236}">
                <a16:creationId xmlns:a16="http://schemas.microsoft.com/office/drawing/2014/main" id="{BF9269C0-5F00-4B5D-9391-2A60AC147D6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9366420" y="1626"/>
            <a:ext cx="2825580" cy="6147966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11EFDAB0-5738-033C-AB80-7A71D759E148}"/>
              </a:ext>
            </a:extLst>
          </p:cNvPr>
          <p:cNvSpPr txBox="1">
            <a:spLocks/>
          </p:cNvSpPr>
          <p:nvPr/>
        </p:nvSpPr>
        <p:spPr bwMode="auto">
          <a:xfrm>
            <a:off x="368378" y="502573"/>
            <a:ext cx="6902137" cy="603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3200" b="0" dirty="0" err="1">
                <a:solidFill>
                  <a:srgbClr val="007E69"/>
                </a:solidFill>
              </a:rPr>
              <a:t>Агриклайм</a:t>
            </a:r>
            <a:r>
              <a:rPr lang="ru-RU" sz="3200" b="0" baseline="30000" dirty="0">
                <a:solidFill>
                  <a:srgbClr val="007E69"/>
                </a:solidFill>
              </a:rPr>
              <a:t>®</a:t>
            </a:r>
            <a:r>
              <a:rPr lang="ru-RU" sz="3200" b="0" dirty="0">
                <a:solidFill>
                  <a:srgbClr val="007E69"/>
                </a:solidFill>
              </a:rPr>
              <a:t>. </a:t>
            </a:r>
            <a:r>
              <a:rPr lang="ru-RU" sz="3200" b="0" kern="0" dirty="0">
                <a:solidFill>
                  <a:srgbClr val="007E69"/>
                </a:solidFill>
              </a:rPr>
              <a:t>Подсолнечник</a:t>
            </a:r>
          </a:p>
          <a:p>
            <a:r>
              <a:rPr lang="ru-RU" sz="3200" b="0" kern="0" dirty="0">
                <a:solidFill>
                  <a:srgbClr val="007E69"/>
                </a:solidFill>
              </a:rPr>
              <a:t>До </a:t>
            </a:r>
            <a:r>
              <a:rPr lang="ru-RU" sz="3200" kern="0" dirty="0">
                <a:solidFill>
                  <a:srgbClr val="007E69"/>
                </a:solidFill>
              </a:rPr>
              <a:t>35</a:t>
            </a:r>
            <a:r>
              <a:rPr lang="ru-RU" sz="3200" b="0" kern="0" dirty="0">
                <a:solidFill>
                  <a:srgbClr val="007E69"/>
                </a:solidFill>
              </a:rPr>
              <a:t> % выплат</a:t>
            </a:r>
            <a:endParaRPr lang="en-US" sz="3200" b="0" kern="0" dirty="0">
              <a:solidFill>
                <a:srgbClr val="007E69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8B07841-E899-C3F9-B6F5-348494457DCE}"/>
              </a:ext>
            </a:extLst>
          </p:cNvPr>
          <p:cNvCxnSpPr/>
          <p:nvPr/>
        </p:nvCxnSpPr>
        <p:spPr bwMode="auto">
          <a:xfrm>
            <a:off x="354931" y="2796988"/>
            <a:ext cx="7202316" cy="0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007E69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A709AAFC-5FB1-6EC0-F98F-F67C07F71DD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0275" y="1364579"/>
            <a:ext cx="4371725" cy="491805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53F4E2E-F634-DCD6-6BB2-A717D37E1CE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80218" y="239210"/>
            <a:ext cx="2365460" cy="729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162753"/>
      </p:ext>
    </p:extLst>
  </p:cSld>
  <p:clrMapOvr>
    <a:masterClrMapping/>
  </p:clrMapOvr>
  <p:transition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8E6EA38-CC7E-4420-BB52-BBD4692524D4}"/>
              </a:ext>
            </a:extLst>
          </p:cNvPr>
          <p:cNvSpPr/>
          <p:nvPr/>
        </p:nvSpPr>
        <p:spPr>
          <a:xfrm>
            <a:off x="268371" y="3057593"/>
            <a:ext cx="6772555" cy="8468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0050" lvl="1" defTabSz="957263">
              <a:lnSpc>
                <a:spcPct val="150000"/>
              </a:lnSpc>
              <a:spcAft>
                <a:spcPct val="25000"/>
              </a:spcAft>
              <a:buClr>
                <a:schemeClr val="tx2"/>
              </a:buClr>
            </a:pPr>
            <a:r>
              <a:rPr lang="ru-RU" sz="1600" b="1" dirty="0">
                <a:solidFill>
                  <a:srgbClr val="007E69"/>
                </a:solidFill>
                <a:latin typeface="+mn-lt"/>
              </a:rPr>
              <a:t>Гербициды: 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ЭЛЮМИС</a:t>
            </a:r>
            <a:r>
              <a:rPr lang="ru-RU" sz="1600" baseline="30000" dirty="0">
                <a:solidFill>
                  <a:srgbClr val="007E69"/>
                </a:solidFill>
                <a:latin typeface="+mn-lt"/>
              </a:rPr>
              <a:t>®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, МИЛАГРО</a:t>
            </a:r>
            <a:r>
              <a:rPr lang="ru-RU" sz="1600" baseline="30000" dirty="0">
                <a:solidFill>
                  <a:srgbClr val="007E69"/>
                </a:solidFill>
                <a:latin typeface="+mn-lt"/>
              </a:rPr>
              <a:t>®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 Плюс</a:t>
            </a:r>
          </a:p>
          <a:p>
            <a:pPr marL="400050" lvl="1" defTabSz="957263">
              <a:lnSpc>
                <a:spcPct val="150000"/>
              </a:lnSpc>
              <a:spcAft>
                <a:spcPct val="25000"/>
              </a:spcAft>
              <a:buClr>
                <a:schemeClr val="tx2"/>
              </a:buClr>
            </a:pPr>
            <a:r>
              <a:rPr lang="ru-RU" sz="1600" b="1" dirty="0">
                <a:solidFill>
                  <a:srgbClr val="007E69"/>
                </a:solidFill>
                <a:latin typeface="+mn-lt"/>
              </a:rPr>
              <a:t>Инсектицид: 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АМПЛИГО</a:t>
            </a:r>
            <a:r>
              <a:rPr lang="ru-RU" sz="1600" baseline="30000" dirty="0">
                <a:solidFill>
                  <a:srgbClr val="007E69"/>
                </a:solidFill>
                <a:latin typeface="+mn-lt"/>
              </a:rPr>
              <a:t>®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 </a:t>
            </a:r>
            <a:endParaRPr lang="ru-RU" sz="1600" dirty="0">
              <a:solidFill>
                <a:srgbClr val="5E595D"/>
              </a:solidFill>
              <a:latin typeface="+mn-lt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D93CEC1-1ABD-4F7A-92CE-D4B07820A91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9372601" y="-11376"/>
            <a:ext cx="2819400" cy="617086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23E2CC88-74BD-D6AA-1BAC-FC9D7A40A445}"/>
              </a:ext>
            </a:extLst>
          </p:cNvPr>
          <p:cNvSpPr txBox="1">
            <a:spLocks/>
          </p:cNvSpPr>
          <p:nvPr/>
        </p:nvSpPr>
        <p:spPr bwMode="auto">
          <a:xfrm>
            <a:off x="368378" y="502573"/>
            <a:ext cx="6902137" cy="603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3200" b="0" dirty="0" err="1">
                <a:solidFill>
                  <a:srgbClr val="007E69"/>
                </a:solidFill>
              </a:rPr>
              <a:t>Агриклайм</a:t>
            </a:r>
            <a:r>
              <a:rPr lang="ru-RU" sz="3200" b="0" baseline="30000" dirty="0">
                <a:solidFill>
                  <a:srgbClr val="007E69"/>
                </a:solidFill>
              </a:rPr>
              <a:t>®</a:t>
            </a:r>
            <a:r>
              <a:rPr lang="ru-RU" sz="3200" b="0" dirty="0">
                <a:solidFill>
                  <a:srgbClr val="007E69"/>
                </a:solidFill>
              </a:rPr>
              <a:t>. </a:t>
            </a:r>
            <a:r>
              <a:rPr lang="ru-RU" sz="3200" b="0" kern="0" dirty="0">
                <a:solidFill>
                  <a:srgbClr val="007E69"/>
                </a:solidFill>
              </a:rPr>
              <a:t>Кукуруза</a:t>
            </a:r>
          </a:p>
          <a:p>
            <a:r>
              <a:rPr lang="ru-RU" sz="3200" b="0" kern="0" dirty="0">
                <a:solidFill>
                  <a:srgbClr val="007E69"/>
                </a:solidFill>
              </a:rPr>
              <a:t>До </a:t>
            </a:r>
            <a:r>
              <a:rPr lang="ru-RU" sz="3200" kern="0" dirty="0">
                <a:solidFill>
                  <a:srgbClr val="007E69"/>
                </a:solidFill>
              </a:rPr>
              <a:t>35</a:t>
            </a:r>
            <a:r>
              <a:rPr lang="ru-RU" sz="3200" b="0" kern="0" dirty="0">
                <a:solidFill>
                  <a:srgbClr val="007E69"/>
                </a:solidFill>
              </a:rPr>
              <a:t> % выплат</a:t>
            </a:r>
            <a:endParaRPr lang="en-US" sz="3200" b="0" kern="0" dirty="0">
              <a:solidFill>
                <a:srgbClr val="007E69"/>
              </a:solidFill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5FA4747-565A-7D48-2916-52137AB373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8378" y="1383527"/>
            <a:ext cx="8988425" cy="1286394"/>
          </a:xfrm>
        </p:spPr>
        <p:txBody>
          <a:bodyPr/>
          <a:lstStyle/>
          <a:p>
            <a:pPr marL="0" indent="0">
              <a:buNone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7E6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годные риски: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5E595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жара (+33 °С) и засуха </a:t>
            </a:r>
          </a:p>
          <a:p>
            <a:pPr marL="0" indent="0">
              <a:buNone/>
            </a:pPr>
            <a:r>
              <a:rPr lang="ru-RU" sz="1600" dirty="0" err="1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ропроизводитель</a:t>
            </a:r>
            <a:r>
              <a:rPr lang="ru-RU" sz="160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ключает в программу любой продукт из списка, если:</a:t>
            </a:r>
          </a:p>
          <a:p>
            <a:pPr>
              <a:buClr>
                <a:srgbClr val="007E69"/>
              </a:buClr>
            </a:pPr>
            <a:r>
              <a:rPr lang="ru-RU" sz="160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 его покупки увеличивается на 10 % (л, кг) к прошлому году;</a:t>
            </a:r>
          </a:p>
          <a:p>
            <a:pPr>
              <a:buClr>
                <a:srgbClr val="007E69"/>
              </a:buClr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инимальная площадь покрытия — 200 га. </a:t>
            </a:r>
            <a:endParaRPr lang="ru-RU" sz="1600" dirty="0">
              <a:solidFill>
                <a:srgbClr val="5E595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lvl="1" indent="0">
              <a:buNone/>
            </a:pPr>
            <a:endParaRPr lang="en-US" sz="1600" dirty="0">
              <a:solidFill>
                <a:srgbClr val="5E595D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67A158A-A733-792D-2221-7E37CF41486E}"/>
              </a:ext>
            </a:extLst>
          </p:cNvPr>
          <p:cNvCxnSpPr/>
          <p:nvPr/>
        </p:nvCxnSpPr>
        <p:spPr bwMode="auto">
          <a:xfrm>
            <a:off x="354931" y="2796988"/>
            <a:ext cx="7202316" cy="0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007E69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18" name="Прямоугольник 8">
            <a:extLst>
              <a:ext uri="{FF2B5EF4-FFF2-40B4-BE49-F238E27FC236}">
                <a16:creationId xmlns:a16="http://schemas.microsoft.com/office/drawing/2014/main" id="{D6655190-CAAB-21CE-7B9A-19E7343885D4}"/>
              </a:ext>
            </a:extLst>
          </p:cNvPr>
          <p:cNvSpPr/>
          <p:nvPr/>
        </p:nvSpPr>
        <p:spPr>
          <a:xfrm>
            <a:off x="460374" y="4479938"/>
            <a:ext cx="5172329" cy="140038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007E69"/>
                </a:solidFill>
              </a:rPr>
              <a:t>Периоды рисков</a:t>
            </a:r>
            <a:r>
              <a:rPr lang="ru-RU" sz="1600" b="1" dirty="0">
                <a:solidFill>
                  <a:srgbClr val="5E595D"/>
                </a:solidFill>
              </a:rPr>
              <a:t>:</a:t>
            </a:r>
          </a:p>
          <a:p>
            <a:pPr marL="685800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E595D"/>
                </a:solidFill>
              </a:rPr>
              <a:t>1 июня — 20 июля; </a:t>
            </a:r>
          </a:p>
          <a:p>
            <a:pPr marL="685800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E595D"/>
                </a:solidFill>
              </a:rPr>
              <a:t>20 июня — 10 августа; </a:t>
            </a:r>
          </a:p>
          <a:p>
            <a:pPr marL="685800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E595D"/>
                </a:solidFill>
              </a:rPr>
              <a:t>10 июля — 31 августа. </a:t>
            </a:r>
          </a:p>
          <a:p>
            <a:pPr marL="400050" lvl="1" indent="0">
              <a:buNone/>
            </a:pPr>
            <a:endParaRPr lang="en-US" sz="1600" dirty="0">
              <a:solidFill>
                <a:srgbClr val="5E595D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9D2D483-349A-018F-1529-36C150BD37C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0275" y="1371454"/>
            <a:ext cx="4371725" cy="491805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4045487-5C95-12D1-0960-E76C11D485A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80218" y="239210"/>
            <a:ext cx="2365460" cy="729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445328"/>
      </p:ext>
    </p:extLst>
  </p:cSld>
  <p:clrMapOvr>
    <a:masterClrMapping/>
  </p:clrMapOvr>
  <p:transition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92D035B-6C0D-4A17-B657-F0EF51B5038A}"/>
              </a:ext>
            </a:extLst>
          </p:cNvPr>
          <p:cNvSpPr/>
          <p:nvPr/>
        </p:nvSpPr>
        <p:spPr>
          <a:xfrm>
            <a:off x="-80682" y="4841217"/>
            <a:ext cx="2949269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 eaLnBrk="0" hangingPunct="0">
              <a:spcAft>
                <a:spcPts val="600"/>
              </a:spcAft>
              <a:defRPr/>
            </a:pPr>
            <a:r>
              <a:rPr lang="ru-RU" sz="1500" b="1" dirty="0">
                <a:solidFill>
                  <a:srgbClr val="007E6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иоды рисков:</a:t>
            </a:r>
          </a:p>
          <a:p>
            <a:pPr marL="742950" indent="-285750"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rgbClr val="5E595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 июня — 10 июля;</a:t>
            </a:r>
          </a:p>
          <a:p>
            <a:pPr marL="742950" indent="-285750"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rgbClr val="5E595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0 июля — 25 июля;</a:t>
            </a:r>
          </a:p>
          <a:p>
            <a:pPr marL="742950" indent="-285750"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rgbClr val="5E595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 июня — 25 июля;</a:t>
            </a:r>
            <a:endParaRPr lang="ru-RU" sz="1500" dirty="0">
              <a:solidFill>
                <a:srgbClr val="5E595D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indent="-285750"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rgbClr val="5E595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0 июля — 15 августа.</a:t>
            </a:r>
            <a:endParaRPr lang="en-US" sz="1500" dirty="0">
              <a:solidFill>
                <a:srgbClr val="5E595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Рисунок 10" descr="Изображение выглядит как трава, внешний, сидит, птица&#10;&#10;Автоматически созданное описание">
            <a:extLst>
              <a:ext uri="{FF2B5EF4-FFF2-40B4-BE49-F238E27FC236}">
                <a16:creationId xmlns:a16="http://schemas.microsoft.com/office/drawing/2014/main" id="{2F555B76-E8ED-4C37-8A63-46D4C348D28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72600" y="0"/>
            <a:ext cx="2819399" cy="6150467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F822F3DA-16D3-48D5-906F-6652E27BC439}"/>
              </a:ext>
            </a:extLst>
          </p:cNvPr>
          <p:cNvSpPr/>
          <p:nvPr/>
        </p:nvSpPr>
        <p:spPr>
          <a:xfrm>
            <a:off x="371886" y="2748794"/>
            <a:ext cx="8570564" cy="14791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240"/>
              </a:lnSpc>
            </a:pPr>
            <a:r>
              <a:rPr lang="ru-RU" sz="1600" b="1" dirty="0">
                <a:solidFill>
                  <a:srgbClr val="007E69"/>
                </a:solidFill>
                <a:latin typeface="+mn-lt"/>
              </a:rPr>
              <a:t>Протравители: 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КРУЙЗЕР</a:t>
            </a:r>
            <a:r>
              <a:rPr lang="ru-RU" sz="1600" baseline="30000" dirty="0">
                <a:solidFill>
                  <a:srgbClr val="007E69"/>
                </a:solidFill>
                <a:latin typeface="+mn-lt"/>
              </a:rPr>
              <a:t>®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 Макс, АТУВА</a:t>
            </a:r>
            <a:r>
              <a:rPr lang="ru-RU" sz="1600" baseline="30000" dirty="0">
                <a:solidFill>
                  <a:srgbClr val="007E69"/>
                </a:solidFill>
                <a:latin typeface="+mn-lt"/>
              </a:rPr>
              <a:t>® </a:t>
            </a:r>
          </a:p>
          <a:p>
            <a:pPr>
              <a:lnSpc>
                <a:spcPts val="2240"/>
              </a:lnSpc>
            </a:pPr>
            <a:r>
              <a:rPr lang="ru-RU" sz="1600" b="1" dirty="0">
                <a:solidFill>
                  <a:srgbClr val="007E69"/>
                </a:solidFill>
                <a:latin typeface="+mn-lt"/>
              </a:rPr>
              <a:t>Гербициды: 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РЕГЛОН</a:t>
            </a:r>
            <a:r>
              <a:rPr lang="ru-RU" sz="1600" baseline="30000" dirty="0">
                <a:solidFill>
                  <a:srgbClr val="007E69"/>
                </a:solidFill>
                <a:latin typeface="+mn-lt"/>
              </a:rPr>
              <a:t>®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 Эйр, РЕГЛОН</a:t>
            </a:r>
            <a:r>
              <a:rPr lang="ru-RU" sz="1600" baseline="30000" dirty="0">
                <a:solidFill>
                  <a:srgbClr val="007E69"/>
                </a:solidFill>
                <a:latin typeface="+mn-lt"/>
              </a:rPr>
              <a:t>®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 Форте, ВИДБЛОК</a:t>
            </a:r>
            <a:r>
              <a:rPr lang="ru-RU" sz="1600" baseline="30000" dirty="0">
                <a:solidFill>
                  <a:srgbClr val="007E69"/>
                </a:solidFill>
                <a:latin typeface="+mn-lt"/>
              </a:rPr>
              <a:t>®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 Плюс,</a:t>
            </a:r>
            <a:r>
              <a:rPr lang="en-US" sz="1600" dirty="0">
                <a:solidFill>
                  <a:srgbClr val="007E69"/>
                </a:solidFill>
                <a:latin typeface="+mn-lt"/>
              </a:rPr>
              <a:t> 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ФЛЕКС</a:t>
            </a:r>
            <a:r>
              <a:rPr lang="ru-RU" sz="1600" baseline="30000" dirty="0">
                <a:solidFill>
                  <a:srgbClr val="007E69"/>
                </a:solidFill>
                <a:latin typeface="+mn-lt"/>
              </a:rPr>
              <a:t>®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, </a:t>
            </a:r>
            <a:endParaRPr lang="en-US" sz="1600" dirty="0">
              <a:solidFill>
                <a:srgbClr val="007E69"/>
              </a:solidFill>
              <a:latin typeface="+mn-lt"/>
            </a:endParaRPr>
          </a:p>
          <a:p>
            <a:pPr>
              <a:lnSpc>
                <a:spcPts val="2240"/>
              </a:lnSpc>
            </a:pPr>
            <a:r>
              <a:rPr lang="ru-RU" sz="1600" dirty="0">
                <a:solidFill>
                  <a:srgbClr val="007E69"/>
                </a:solidFill>
                <a:latin typeface="+mn-lt"/>
              </a:rPr>
              <a:t>ФЮЗИЛАД</a:t>
            </a:r>
            <a:r>
              <a:rPr lang="ru-RU" sz="1600" baseline="30000" dirty="0">
                <a:solidFill>
                  <a:srgbClr val="007E69"/>
                </a:solidFill>
                <a:latin typeface="+mn-lt"/>
              </a:rPr>
              <a:t>®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 Форте, ЭВЕНТУС</a:t>
            </a:r>
            <a:r>
              <a:rPr lang="ru-RU" sz="1600" baseline="30000" dirty="0">
                <a:solidFill>
                  <a:srgbClr val="007E69"/>
                </a:solidFill>
                <a:latin typeface="+mn-lt"/>
              </a:rPr>
              <a:t>®</a:t>
            </a:r>
            <a:endParaRPr lang="ru-RU" sz="1600" dirty="0">
              <a:solidFill>
                <a:srgbClr val="007E69"/>
              </a:solidFill>
              <a:latin typeface="+mn-lt"/>
            </a:endParaRPr>
          </a:p>
          <a:p>
            <a:pPr>
              <a:lnSpc>
                <a:spcPts val="2240"/>
              </a:lnSpc>
            </a:pPr>
            <a:r>
              <a:rPr lang="ru-RU" sz="1600" b="1" dirty="0">
                <a:solidFill>
                  <a:srgbClr val="007E69"/>
                </a:solidFill>
                <a:latin typeface="+mn-lt"/>
              </a:rPr>
              <a:t>Фунгициды: 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АМИСТАР</a:t>
            </a:r>
            <a:r>
              <a:rPr lang="ru-RU" sz="1600" baseline="30000" dirty="0">
                <a:solidFill>
                  <a:srgbClr val="007E69"/>
                </a:solidFill>
                <a:latin typeface="+mn-lt"/>
              </a:rPr>
              <a:t>®</a:t>
            </a:r>
            <a:r>
              <a:rPr lang="ru-RU" sz="1600" dirty="0">
                <a:solidFill>
                  <a:srgbClr val="007E69"/>
                </a:solidFill>
                <a:latin typeface="+mn-lt"/>
              </a:rPr>
              <a:t> </a:t>
            </a:r>
            <a:r>
              <a:rPr lang="ru-RU" sz="1600" dirty="0" err="1">
                <a:solidFill>
                  <a:srgbClr val="007E69"/>
                </a:solidFill>
                <a:latin typeface="+mn-lt"/>
              </a:rPr>
              <a:t>Голд</a:t>
            </a:r>
            <a:endParaRPr lang="ru-RU" sz="1600" dirty="0">
              <a:solidFill>
                <a:srgbClr val="007E69"/>
              </a:solidFill>
              <a:latin typeface="+mn-lt"/>
            </a:endParaRPr>
          </a:p>
          <a:p>
            <a:pPr>
              <a:lnSpc>
                <a:spcPts val="2240"/>
              </a:lnSpc>
            </a:pPr>
            <a:r>
              <a:rPr lang="ru-RU" sz="1600" b="1" dirty="0">
                <a:solidFill>
                  <a:srgbClr val="007E69"/>
                </a:solidFill>
                <a:effectLst/>
                <a:latin typeface="+mn-lt"/>
                <a:ea typeface="Calibri" panose="020F0502020204030204" pitchFamily="34" charset="0"/>
              </a:rPr>
              <a:t>Биостимуляторы: </a:t>
            </a:r>
            <a:r>
              <a:rPr lang="ru-RU" sz="1600" dirty="0">
                <a:solidFill>
                  <a:srgbClr val="007E69"/>
                </a:solidFill>
                <a:effectLst/>
                <a:latin typeface="+mn-lt"/>
                <a:ea typeface="Calibri" panose="020F0502020204030204" pitchFamily="34" charset="0"/>
              </a:rPr>
              <a:t>КВАНТИС</a:t>
            </a:r>
            <a:r>
              <a:rPr lang="ru-RU" sz="1200" dirty="0">
                <a:solidFill>
                  <a:srgbClr val="007E69"/>
                </a:solidFill>
                <a:effectLst/>
                <a:latin typeface="+mn-lt"/>
                <a:ea typeface="Calibri" panose="020F0502020204030204" pitchFamily="34" charset="0"/>
              </a:rPr>
              <a:t>®</a:t>
            </a:r>
            <a:endParaRPr lang="ru-RU" sz="1700" dirty="0">
              <a:solidFill>
                <a:srgbClr val="007E69"/>
              </a:solidFill>
              <a:highlight>
                <a:srgbClr val="FFFFFF"/>
              </a:highlight>
              <a:latin typeface="+mn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76A09B7-A540-4515-9DBC-A7C79DE896DA}"/>
              </a:ext>
            </a:extLst>
          </p:cNvPr>
          <p:cNvSpPr txBox="1"/>
          <p:nvPr/>
        </p:nvSpPr>
        <p:spPr>
          <a:xfrm>
            <a:off x="-26894" y="4591319"/>
            <a:ext cx="609600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0005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007E6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огодные риски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5E595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srgbClr val="5E595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жара (+33 °С) и засуха 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5E595D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F701E69-3D74-418D-96BF-61EF52DEDFE6}"/>
              </a:ext>
            </a:extLst>
          </p:cNvPr>
          <p:cNvSpPr txBox="1"/>
          <p:nvPr/>
        </p:nvSpPr>
        <p:spPr>
          <a:xfrm>
            <a:off x="371886" y="4269461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7E69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Центр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7E69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7E69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и Сибирь </a:t>
            </a:r>
            <a:endParaRPr lang="ru-RU" sz="1800" dirty="0">
              <a:solidFill>
                <a:srgbClr val="007E69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15ACB7A-7CBD-4D29-9D3C-D78AEA121099}"/>
              </a:ext>
            </a:extLst>
          </p:cNvPr>
          <p:cNvSpPr txBox="1"/>
          <p:nvPr/>
        </p:nvSpPr>
        <p:spPr>
          <a:xfrm>
            <a:off x="5136425" y="4229120"/>
            <a:ext cx="343413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kern="0" dirty="0">
                <a:solidFill>
                  <a:srgbClr val="007E6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льний Восток</a:t>
            </a:r>
            <a:endParaRPr lang="ru-RU" sz="1800" dirty="0">
              <a:solidFill>
                <a:srgbClr val="007E6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4AB729C-A882-42D2-A2F1-81643691A9B0}"/>
              </a:ext>
            </a:extLst>
          </p:cNvPr>
          <p:cNvSpPr txBox="1"/>
          <p:nvPr/>
        </p:nvSpPr>
        <p:spPr>
          <a:xfrm>
            <a:off x="4724452" y="4575717"/>
            <a:ext cx="609600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0005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007E6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огодный риск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5E595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srgbClr val="5E595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избыточные дожди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5E595D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64102ADD-E00F-43CA-8F19-E2E972EDC313}"/>
              </a:ext>
            </a:extLst>
          </p:cNvPr>
          <p:cNvSpPr/>
          <p:nvPr/>
        </p:nvSpPr>
        <p:spPr>
          <a:xfrm>
            <a:off x="4670664" y="4850459"/>
            <a:ext cx="3433079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indent="0" eaLnBrk="0" hangingPunct="0">
              <a:spcAft>
                <a:spcPts val="600"/>
              </a:spcAft>
              <a:buNone/>
              <a:defRPr/>
            </a:pPr>
            <a:r>
              <a:rPr lang="ru-RU" sz="1500" b="1" dirty="0">
                <a:solidFill>
                  <a:srgbClr val="007E6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иоды риска:</a:t>
            </a:r>
          </a:p>
          <a:p>
            <a:pPr marL="685800" lvl="1" indent="-285750"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июля — 31 июля;</a:t>
            </a:r>
          </a:p>
          <a:p>
            <a:pPr marL="685800" lvl="1" indent="-285750"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июля </a:t>
            </a:r>
            <a:r>
              <a:rPr lang="ru-RU" altLang="ja-JP" sz="150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</a:t>
            </a:r>
            <a:r>
              <a:rPr lang="ru-RU" sz="150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1 августа;</a:t>
            </a:r>
          </a:p>
          <a:p>
            <a:pPr marL="685800" lvl="1" indent="-285750"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 июля </a:t>
            </a:r>
            <a:r>
              <a:rPr lang="ru-RU" altLang="ja-JP" sz="150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</a:t>
            </a:r>
            <a:r>
              <a:rPr lang="ru-RU" sz="150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1 августа; </a:t>
            </a:r>
          </a:p>
          <a:p>
            <a:pPr marL="685800" lvl="1" indent="-285750"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августа </a:t>
            </a:r>
            <a:r>
              <a:rPr lang="ru-RU" altLang="ja-JP" sz="150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</a:t>
            </a:r>
            <a:r>
              <a:rPr lang="ru-RU" sz="150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1 августа.</a:t>
            </a:r>
          </a:p>
          <a:p>
            <a:pPr marL="685800" lvl="1" indent="-285750">
              <a:buFont typeface="Arial" panose="020B0604020202020204" pitchFamily="34" charset="0"/>
              <a:buChar char="•"/>
            </a:pPr>
            <a:endParaRPr lang="ru-RU" sz="1500" dirty="0">
              <a:solidFill>
                <a:srgbClr val="5E595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lvl="1" indent="0">
              <a:buNone/>
            </a:pPr>
            <a:endParaRPr lang="en-US" sz="1500" dirty="0">
              <a:solidFill>
                <a:srgbClr val="5E595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863B22E-DC22-B6BD-6A18-2CC8B4A280C2}"/>
              </a:ext>
            </a:extLst>
          </p:cNvPr>
          <p:cNvSpPr txBox="1">
            <a:spLocks/>
          </p:cNvSpPr>
          <p:nvPr/>
        </p:nvSpPr>
        <p:spPr bwMode="auto">
          <a:xfrm>
            <a:off x="368378" y="502573"/>
            <a:ext cx="6902137" cy="603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3200" b="0" dirty="0" err="1">
                <a:solidFill>
                  <a:srgbClr val="007E69"/>
                </a:solidFill>
              </a:rPr>
              <a:t>Агриклайм</a:t>
            </a:r>
            <a:r>
              <a:rPr lang="ru-RU" sz="3200" b="0" baseline="30000" dirty="0">
                <a:solidFill>
                  <a:srgbClr val="007E69"/>
                </a:solidFill>
              </a:rPr>
              <a:t>®</a:t>
            </a:r>
            <a:r>
              <a:rPr lang="ru-RU" sz="3200" b="0" dirty="0">
                <a:solidFill>
                  <a:srgbClr val="007E69"/>
                </a:solidFill>
              </a:rPr>
              <a:t>. </a:t>
            </a:r>
            <a:r>
              <a:rPr lang="ru-RU" sz="3200" b="0" kern="0" dirty="0">
                <a:solidFill>
                  <a:srgbClr val="007E69"/>
                </a:solidFill>
              </a:rPr>
              <a:t>Соя</a:t>
            </a:r>
          </a:p>
          <a:p>
            <a:r>
              <a:rPr lang="ru-RU" sz="3200" b="0" kern="0" dirty="0">
                <a:solidFill>
                  <a:srgbClr val="007E69"/>
                </a:solidFill>
              </a:rPr>
              <a:t>До </a:t>
            </a:r>
            <a:r>
              <a:rPr lang="ru-RU" sz="3200" kern="0" dirty="0">
                <a:solidFill>
                  <a:srgbClr val="007E69"/>
                </a:solidFill>
              </a:rPr>
              <a:t>35</a:t>
            </a:r>
            <a:r>
              <a:rPr lang="ru-RU" sz="3200" b="0" kern="0" dirty="0">
                <a:solidFill>
                  <a:srgbClr val="007E69"/>
                </a:solidFill>
              </a:rPr>
              <a:t> % выплат</a:t>
            </a:r>
            <a:endParaRPr lang="en-US" sz="3200" b="0" kern="0" dirty="0">
              <a:solidFill>
                <a:srgbClr val="007E69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A7B1614-CA51-B84E-030F-7EE8C2DF62DA}"/>
              </a:ext>
            </a:extLst>
          </p:cNvPr>
          <p:cNvSpPr txBox="1">
            <a:spLocks/>
          </p:cNvSpPr>
          <p:nvPr/>
        </p:nvSpPr>
        <p:spPr>
          <a:xfrm>
            <a:off x="368378" y="1284374"/>
            <a:ext cx="8988425" cy="1286394"/>
          </a:xfrm>
          <a:prstGeom prst="rect">
            <a:avLst/>
          </a:prstGeom>
        </p:spPr>
        <p:txBody>
          <a:bodyPr/>
          <a:lstStyle>
            <a:lvl1pPr marL="285750" indent="-285750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Font typeface="Arial" charset="0"/>
              <a:buChar char="●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6275" indent="-27622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2pPr>
            <a:lvl3pPr marL="1144588" indent="-287338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619250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4pPr>
            <a:lvl5pPr marL="20939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25511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30083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655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9227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ru-RU" b="1" kern="1200" dirty="0">
                <a:solidFill>
                  <a:srgbClr val="007E69"/>
                </a:solidFill>
                <a:latin typeface="Arial"/>
              </a:rPr>
              <a:t>Погодные риски: </a:t>
            </a:r>
            <a:r>
              <a:rPr lang="ru-RU" sz="1600" kern="120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а (+33 °С) и засуха; избыточные дожди </a:t>
            </a:r>
          </a:p>
          <a:p>
            <a:pPr marL="0" indent="0">
              <a:buFont typeface="Arial" charset="0"/>
              <a:buNone/>
            </a:pPr>
            <a:r>
              <a:rPr lang="ru-RU" sz="1600" kern="0" dirty="0" err="1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ропроизводитель</a:t>
            </a:r>
            <a:r>
              <a:rPr lang="ru-RU" sz="1600" kern="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ключает в программу любой продукт из списка, если:</a:t>
            </a:r>
          </a:p>
          <a:p>
            <a:pPr>
              <a:buClr>
                <a:srgbClr val="007E69"/>
              </a:buClr>
            </a:pPr>
            <a:r>
              <a:rPr lang="ru-RU" sz="1600" kern="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 его покупки увеличивается на 15 % (л, кг) к прошлому году;</a:t>
            </a:r>
          </a:p>
          <a:p>
            <a:pPr>
              <a:buClr>
                <a:srgbClr val="007E69"/>
              </a:buClr>
            </a:pP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Минимальная площадь покрытия — 200 га. </a:t>
            </a:r>
            <a:endParaRPr lang="ru-RU" sz="1600" kern="0" dirty="0">
              <a:solidFill>
                <a:srgbClr val="5E595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lvl="1" indent="0">
              <a:buFont typeface="Arial" charset="0"/>
              <a:buNone/>
            </a:pPr>
            <a:endParaRPr lang="en-US" sz="1600" kern="0" dirty="0">
              <a:solidFill>
                <a:srgbClr val="5E595D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0595A61-B12F-C46A-5A71-6E00CA0AF630}"/>
              </a:ext>
            </a:extLst>
          </p:cNvPr>
          <p:cNvCxnSpPr/>
          <p:nvPr/>
        </p:nvCxnSpPr>
        <p:spPr bwMode="auto">
          <a:xfrm>
            <a:off x="354931" y="2697835"/>
            <a:ext cx="7202316" cy="0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007E69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C9BE12C0-4F6C-3DA0-5498-C38BDF00B33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0275" y="1364579"/>
            <a:ext cx="4371725" cy="491805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9DA1F69-CBFE-45DD-CC5D-47F1B0289CD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80218" y="239210"/>
            <a:ext cx="2365460" cy="729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692387"/>
      </p:ext>
    </p:extLst>
  </p:cSld>
  <p:clrMapOvr>
    <a:masterClrMapping/>
  </p:clrMapOvr>
  <p:transition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 descr="Изображение выглядит как скала, еда, маленький, сидит&#10;&#10;Автоматически созданное описание">
            <a:extLst>
              <a:ext uri="{FF2B5EF4-FFF2-40B4-BE49-F238E27FC236}">
                <a16:creationId xmlns:a16="http://schemas.microsoft.com/office/drawing/2014/main" id="{76BDC3DC-4067-42AA-A6C3-6E52AE64211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72600" y="1"/>
            <a:ext cx="2819399" cy="61595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126B31-FF2F-4F54-954A-104C8C343F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1472" y="2937503"/>
            <a:ext cx="9010870" cy="3131907"/>
          </a:xfrm>
          <a:ln>
            <a:noFill/>
          </a:ln>
        </p:spPr>
        <p:txBody>
          <a:bodyPr/>
          <a:lstStyle/>
          <a:p>
            <a:pPr marL="0" indent="0">
              <a:buNone/>
            </a:pPr>
            <a:r>
              <a:rPr lang="ru-RU" sz="1400" b="1" dirty="0">
                <a:solidFill>
                  <a:srgbClr val="007E69"/>
                </a:solidFill>
              </a:rPr>
              <a:t>П</a:t>
            </a:r>
            <a:r>
              <a:rPr lang="ru-RU" sz="1600" b="1" dirty="0">
                <a:solidFill>
                  <a:srgbClr val="007E69"/>
                </a:solidFill>
              </a:rPr>
              <a:t>ротравитель: </a:t>
            </a:r>
            <a:r>
              <a:rPr lang="ru-RU" sz="1600" dirty="0">
                <a:solidFill>
                  <a:srgbClr val="007E69"/>
                </a:solidFill>
              </a:rPr>
              <a:t>ВАЙБРАНС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 Топ</a:t>
            </a:r>
          </a:p>
          <a:p>
            <a:pPr marL="0" indent="0">
              <a:buNone/>
            </a:pPr>
            <a:r>
              <a:rPr lang="ru-RU" sz="1600" b="1" dirty="0">
                <a:solidFill>
                  <a:srgbClr val="007E69"/>
                </a:solidFill>
              </a:rPr>
              <a:t>Инсектициды: </a:t>
            </a:r>
            <a:r>
              <a:rPr lang="ru-RU" sz="1600" dirty="0">
                <a:solidFill>
                  <a:srgbClr val="007E69"/>
                </a:solidFill>
              </a:rPr>
              <a:t>АКТАРА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 ВОЛИАМ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 Флекси, ФОРС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endParaRPr lang="ru-RU" sz="1600" dirty="0">
              <a:solidFill>
                <a:srgbClr val="007E69"/>
              </a:solidFill>
            </a:endParaRPr>
          </a:p>
          <a:p>
            <a:pPr marL="0" indent="0">
              <a:buNone/>
            </a:pPr>
            <a:r>
              <a:rPr lang="ru-RU" sz="1600" b="1" dirty="0">
                <a:solidFill>
                  <a:srgbClr val="007E69"/>
                </a:solidFill>
              </a:rPr>
              <a:t>Гербициды: </a:t>
            </a:r>
            <a:r>
              <a:rPr lang="ru-RU" sz="1600" dirty="0">
                <a:solidFill>
                  <a:srgbClr val="007E69"/>
                </a:solidFill>
              </a:rPr>
              <a:t>БОКСЕР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 ГЕЗАГАРД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endParaRPr lang="ru-RU" sz="1600" dirty="0">
              <a:solidFill>
                <a:srgbClr val="007E69"/>
              </a:solidFill>
            </a:endParaRPr>
          </a:p>
          <a:p>
            <a:pPr marL="0" indent="0">
              <a:buNone/>
            </a:pPr>
            <a:r>
              <a:rPr lang="ru-RU" sz="1600" b="1" dirty="0">
                <a:solidFill>
                  <a:srgbClr val="007E69"/>
                </a:solidFill>
              </a:rPr>
              <a:t>Фунгициды: </a:t>
            </a:r>
            <a:r>
              <a:rPr lang="ru-RU" sz="1600" dirty="0">
                <a:solidFill>
                  <a:srgbClr val="007E69"/>
                </a:solidFill>
              </a:rPr>
              <a:t>БРАВО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 РИДОМИЛ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 Голд МЦ, РИДОМИЛ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 Голд Р, РЕВУС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 Топ,</a:t>
            </a:r>
          </a:p>
          <a:p>
            <a:pPr marL="0" indent="0">
              <a:buNone/>
            </a:pPr>
            <a:r>
              <a:rPr lang="ru-RU" sz="1600" dirty="0">
                <a:solidFill>
                  <a:srgbClr val="007E69"/>
                </a:solidFill>
              </a:rPr>
              <a:t>КАРИАЛ</a:t>
            </a:r>
            <a:r>
              <a:rPr lang="ru-RU" sz="1600" baseline="30000" dirty="0">
                <a:solidFill>
                  <a:srgbClr val="007E69"/>
                </a:solidFill>
              </a:rPr>
              <a:t>® </a:t>
            </a:r>
            <a:r>
              <a:rPr lang="ru-RU" sz="1600" dirty="0">
                <a:solidFill>
                  <a:srgbClr val="007E69"/>
                </a:solidFill>
              </a:rPr>
              <a:t>Флекс, ЮНИФОРМ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 КВАДРИС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</a:t>
            </a:r>
            <a:r>
              <a:rPr lang="en-US" sz="1600" dirty="0">
                <a:solidFill>
                  <a:srgbClr val="007E69"/>
                </a:solidFill>
              </a:rPr>
              <a:t> </a:t>
            </a:r>
            <a:r>
              <a:rPr lang="ru-RU" sz="1600" dirty="0">
                <a:solidFill>
                  <a:srgbClr val="007E69"/>
                </a:solidFill>
              </a:rPr>
              <a:t>МИРАВИС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 ШИРЛАН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endParaRPr lang="ru-RU" sz="1600" dirty="0">
              <a:solidFill>
                <a:srgbClr val="007E69"/>
              </a:solidFill>
            </a:endParaRPr>
          </a:p>
          <a:p>
            <a:pPr marL="0" indent="0">
              <a:buNone/>
            </a:pPr>
            <a:r>
              <a:rPr lang="ru-RU" sz="1600" b="1" dirty="0">
                <a:solidFill>
                  <a:srgbClr val="007E69"/>
                </a:solidFill>
              </a:rPr>
              <a:t>Биостимуляторы: </a:t>
            </a:r>
            <a:r>
              <a:rPr lang="ru-RU" sz="1600" dirty="0">
                <a:solidFill>
                  <a:srgbClr val="007E69"/>
                </a:solidFill>
              </a:rPr>
              <a:t>ИЗАБИОН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endParaRPr lang="ru-RU" sz="1600" dirty="0">
              <a:solidFill>
                <a:srgbClr val="007E69"/>
              </a:solidFill>
            </a:endParaRPr>
          </a:p>
          <a:p>
            <a:pPr marL="400050" lvl="1" indent="0">
              <a:buNone/>
            </a:pPr>
            <a:endParaRPr lang="ru-RU" sz="1700" dirty="0">
              <a:solidFill>
                <a:srgbClr val="5E595D"/>
              </a:solidFill>
            </a:endParaRPr>
          </a:p>
          <a:p>
            <a:pPr lvl="1"/>
            <a:endParaRPr lang="ru-RU" sz="1700" dirty="0">
              <a:solidFill>
                <a:srgbClr val="5E595D"/>
              </a:solidFill>
            </a:endParaRPr>
          </a:p>
          <a:p>
            <a:pPr lvl="1"/>
            <a:endParaRPr lang="ru-RU" sz="1700" dirty="0">
              <a:solidFill>
                <a:srgbClr val="5E595D"/>
              </a:solidFill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F9F24F0-2D9C-4491-A0B3-B02438033135}"/>
              </a:ext>
            </a:extLst>
          </p:cNvPr>
          <p:cNvSpPr/>
          <p:nvPr/>
        </p:nvSpPr>
        <p:spPr>
          <a:xfrm>
            <a:off x="368378" y="4899859"/>
            <a:ext cx="321166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spcAft>
                <a:spcPts val="600"/>
              </a:spcAft>
              <a:defRPr/>
            </a:pPr>
            <a:r>
              <a:rPr lang="ru-RU" sz="1600" b="1" dirty="0">
                <a:solidFill>
                  <a:srgbClr val="007E69"/>
                </a:solidFill>
                <a:latin typeface="+mn-lt"/>
              </a:rPr>
              <a:t>Периоды риска:</a:t>
            </a:r>
          </a:p>
          <a:p>
            <a:pPr marL="685800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E595D"/>
                </a:solidFill>
                <a:latin typeface="+mn-lt"/>
              </a:rPr>
              <a:t>1 июня — 1 июля;</a:t>
            </a:r>
          </a:p>
          <a:p>
            <a:pPr marL="685800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E595D"/>
                </a:solidFill>
                <a:latin typeface="+mn-lt"/>
              </a:rPr>
              <a:t>15 июня — 15 июля; </a:t>
            </a:r>
          </a:p>
          <a:p>
            <a:pPr marL="685800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E595D"/>
                </a:solidFill>
                <a:latin typeface="+mn-lt"/>
              </a:rPr>
              <a:t>1 июля — 1 августа.</a:t>
            </a:r>
            <a:endParaRPr lang="en-US" sz="1600" dirty="0">
              <a:solidFill>
                <a:srgbClr val="5E595D"/>
              </a:solidFill>
              <a:latin typeface="+mn-lt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5BCABC9-449C-3199-2843-A5D53837A3EB}"/>
              </a:ext>
            </a:extLst>
          </p:cNvPr>
          <p:cNvSpPr txBox="1">
            <a:spLocks/>
          </p:cNvSpPr>
          <p:nvPr/>
        </p:nvSpPr>
        <p:spPr bwMode="auto">
          <a:xfrm>
            <a:off x="368378" y="502573"/>
            <a:ext cx="6902137" cy="603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3200" b="0" dirty="0" err="1">
                <a:solidFill>
                  <a:srgbClr val="007E69"/>
                </a:solidFill>
              </a:rPr>
              <a:t>Агриклайм</a:t>
            </a:r>
            <a:r>
              <a:rPr lang="ru-RU" sz="3200" b="0" baseline="30000" dirty="0">
                <a:solidFill>
                  <a:srgbClr val="007E69"/>
                </a:solidFill>
              </a:rPr>
              <a:t>®</a:t>
            </a:r>
            <a:r>
              <a:rPr lang="ru-RU" sz="3200" b="0" dirty="0">
                <a:solidFill>
                  <a:srgbClr val="007E69"/>
                </a:solidFill>
              </a:rPr>
              <a:t>. </a:t>
            </a:r>
            <a:r>
              <a:rPr lang="ru-RU" sz="3200" b="0" kern="0" dirty="0">
                <a:solidFill>
                  <a:srgbClr val="007E69"/>
                </a:solidFill>
              </a:rPr>
              <a:t>Картофель</a:t>
            </a:r>
          </a:p>
          <a:p>
            <a:r>
              <a:rPr lang="ru-RU" sz="3200" b="0" kern="0" dirty="0">
                <a:solidFill>
                  <a:srgbClr val="007E69"/>
                </a:solidFill>
              </a:rPr>
              <a:t>До </a:t>
            </a:r>
            <a:r>
              <a:rPr lang="ru-RU" sz="3200" kern="0" dirty="0">
                <a:solidFill>
                  <a:srgbClr val="007E69"/>
                </a:solidFill>
              </a:rPr>
              <a:t>35</a:t>
            </a:r>
            <a:r>
              <a:rPr lang="ru-RU" sz="3200" b="0" kern="0" dirty="0">
                <a:solidFill>
                  <a:srgbClr val="007E69"/>
                </a:solidFill>
              </a:rPr>
              <a:t> % выплат</a:t>
            </a:r>
            <a:endParaRPr lang="en-US" sz="3200" b="0" kern="0" dirty="0">
              <a:solidFill>
                <a:srgbClr val="007E69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BC62C68-A3B7-850D-24F6-85BEB0E1AC67}"/>
              </a:ext>
            </a:extLst>
          </p:cNvPr>
          <p:cNvSpPr txBox="1">
            <a:spLocks/>
          </p:cNvSpPr>
          <p:nvPr/>
        </p:nvSpPr>
        <p:spPr>
          <a:xfrm>
            <a:off x="368378" y="1383527"/>
            <a:ext cx="8988425" cy="1286394"/>
          </a:xfrm>
          <a:prstGeom prst="rect">
            <a:avLst/>
          </a:prstGeom>
        </p:spPr>
        <p:txBody>
          <a:bodyPr/>
          <a:lstStyle>
            <a:lvl1pPr marL="285750" indent="-285750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Font typeface="Arial" charset="0"/>
              <a:buChar char="●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6275" indent="-27622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2pPr>
            <a:lvl3pPr marL="1144588" indent="-287338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619250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4pPr>
            <a:lvl5pPr marL="20939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25511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30083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655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9227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ru-RU" b="1" kern="1200" dirty="0">
                <a:solidFill>
                  <a:srgbClr val="007E69"/>
                </a:solidFill>
                <a:latin typeface="Arial"/>
              </a:rPr>
              <a:t>Погодные риски: </a:t>
            </a:r>
            <a:r>
              <a:rPr lang="ru-RU" sz="1600" kern="120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суха</a:t>
            </a:r>
          </a:p>
          <a:p>
            <a:pPr>
              <a:buClr>
                <a:srgbClr val="007E69"/>
              </a:buClr>
            </a:pPr>
            <a:r>
              <a:rPr lang="ru-RU" sz="1600" dirty="0">
                <a:solidFill>
                  <a:srgbClr val="5E595D"/>
                </a:solidFill>
              </a:rPr>
              <a:t>Если в 2022 г. сумма закупки препаратов из списка 4–8 млн — рост 20 %</a:t>
            </a:r>
            <a:r>
              <a:rPr lang="ru-RU" sz="1600" kern="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buClr>
                <a:srgbClr val="007E69"/>
              </a:buClr>
            </a:pPr>
            <a:r>
              <a:rPr lang="ru-RU" sz="1600" dirty="0">
                <a:solidFill>
                  <a:srgbClr val="5E595D"/>
                </a:solidFill>
              </a:rPr>
              <a:t>Если в 2022 г. сумма закупки препаратов из списка больше 8 млн — рост от 10 %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buClr>
                <a:srgbClr val="007E69"/>
              </a:buClr>
            </a:pP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Минимальный порог участия </a:t>
            </a:r>
            <a:r>
              <a:rPr lang="ru-RU" sz="1800" dirty="0">
                <a:solidFill>
                  <a:srgbClr val="5E595D"/>
                </a:solidFill>
              </a:rPr>
              <a:t>—</a:t>
            </a:r>
            <a:r>
              <a:rPr lang="ru-RU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от 4 млн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600" kern="0" dirty="0">
              <a:solidFill>
                <a:srgbClr val="5E595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lvl="1" indent="0">
              <a:buFont typeface="Arial" charset="0"/>
              <a:buNone/>
            </a:pPr>
            <a:endParaRPr lang="en-US" sz="1600" kern="0" dirty="0">
              <a:solidFill>
                <a:srgbClr val="5E595D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07E8E3-44B4-F9F8-06B8-B2F0F571F295}"/>
              </a:ext>
            </a:extLst>
          </p:cNvPr>
          <p:cNvCxnSpPr/>
          <p:nvPr/>
        </p:nvCxnSpPr>
        <p:spPr bwMode="auto">
          <a:xfrm>
            <a:off x="354931" y="2796988"/>
            <a:ext cx="7202316" cy="0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007E69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A49E449E-D498-EF1C-1E5D-6CDF4128024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0275" y="1364579"/>
            <a:ext cx="4371725" cy="491805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1A84E31-7EC4-C57D-C671-B88541B6AB4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80218" y="239210"/>
            <a:ext cx="2365460" cy="729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870688"/>
      </p:ext>
    </p:extLst>
  </p:cSld>
  <p:clrMapOvr>
    <a:masterClrMapping/>
  </p:clrMapOvr>
  <p:transition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05E296C-DA10-4C6D-BC3D-B533EE5C91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415" y="2933092"/>
            <a:ext cx="8647691" cy="626733"/>
          </a:xfrm>
          <a:ln>
            <a:noFill/>
          </a:ln>
        </p:spPr>
        <p:txBody>
          <a:bodyPr/>
          <a:lstStyle/>
          <a:p>
            <a:pPr marL="0" indent="0">
              <a:buNone/>
            </a:pPr>
            <a:r>
              <a:rPr lang="ru-RU" sz="1600" b="1" dirty="0">
                <a:solidFill>
                  <a:srgbClr val="007E69"/>
                </a:solidFill>
              </a:rPr>
              <a:t>Инсектициды: </a:t>
            </a:r>
            <a:r>
              <a:rPr lang="ru-RU" sz="1600" dirty="0">
                <a:solidFill>
                  <a:srgbClr val="007E69"/>
                </a:solidFill>
              </a:rPr>
              <a:t>АКТАРА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 ВЕРТИМЕК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 ВОЛИАМ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 Флекси, ИНСЕГАР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 ЛИРУМ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 ЛЮФОКС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 МАТЧ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 ПРОКЛЭЙМ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 ПРОКЛЭЙМ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 </a:t>
            </a:r>
            <a:r>
              <a:rPr lang="ru-RU" sz="1600" dirty="0" err="1">
                <a:solidFill>
                  <a:srgbClr val="007E69"/>
                </a:solidFill>
              </a:rPr>
              <a:t>Фит</a:t>
            </a:r>
            <a:endParaRPr lang="ru-RU" sz="1600" dirty="0">
              <a:solidFill>
                <a:srgbClr val="007E69"/>
              </a:solidFill>
            </a:endParaRPr>
          </a:p>
          <a:p>
            <a:pPr marL="0" indent="0">
              <a:buNone/>
            </a:pPr>
            <a:r>
              <a:rPr lang="ru-RU" sz="1600" b="1" dirty="0">
                <a:solidFill>
                  <a:srgbClr val="007E69"/>
                </a:solidFill>
              </a:rPr>
              <a:t>Фунгициды: </a:t>
            </a:r>
            <a:r>
              <a:rPr lang="ru-RU" sz="1600" dirty="0">
                <a:solidFill>
                  <a:srgbClr val="007E69"/>
                </a:solidFill>
              </a:rPr>
              <a:t>МИРАВИС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 ГЕОКС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 ДИНАЛИ</a:t>
            </a:r>
            <a:r>
              <a:rPr lang="ru-RU" sz="1600" baseline="30000" dirty="0">
                <a:solidFill>
                  <a:srgbClr val="007E69"/>
                </a:solidFill>
              </a:rPr>
              <a:t> ®</a:t>
            </a:r>
            <a:r>
              <a:rPr lang="ru-RU" sz="1600" dirty="0">
                <a:solidFill>
                  <a:srgbClr val="007E69"/>
                </a:solidFill>
              </a:rPr>
              <a:t>, СВИТЧ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 СКОР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 ТОПАЗ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 ХОРУС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 </a:t>
            </a:r>
            <a:br>
              <a:rPr lang="ru-RU" sz="1600" dirty="0">
                <a:solidFill>
                  <a:srgbClr val="007E69"/>
                </a:solidFill>
              </a:rPr>
            </a:br>
            <a:r>
              <a:rPr lang="ru-RU" sz="1600" dirty="0">
                <a:solidFill>
                  <a:srgbClr val="007E69"/>
                </a:solidFill>
              </a:rPr>
              <a:t>ЦИДЕЛИ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 Топ, ПЕРГАДО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 Зокс, РИДОМИЛ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 Голд МЦ, РИДОМИЛ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 Голд Р, КВАДРИС</a:t>
            </a:r>
            <a:r>
              <a:rPr lang="ru-RU" sz="1600" baseline="30000" dirty="0">
                <a:solidFill>
                  <a:srgbClr val="007E69"/>
                </a:solidFill>
              </a:rPr>
              <a:t>® </a:t>
            </a:r>
          </a:p>
          <a:p>
            <a:pPr marL="0" indent="0">
              <a:buNone/>
            </a:pPr>
            <a:r>
              <a:rPr lang="ru-RU" sz="1600" b="1" dirty="0">
                <a:solidFill>
                  <a:srgbClr val="007E69"/>
                </a:solidFill>
              </a:rPr>
              <a:t>Биостимуляторы и регуляторы роста: </a:t>
            </a:r>
            <a:r>
              <a:rPr lang="ru-RU" sz="1600" dirty="0">
                <a:solidFill>
                  <a:srgbClr val="007E69"/>
                </a:solidFill>
              </a:rPr>
              <a:t>МЕГАФОЛ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  <a:r>
              <a:rPr lang="ru-RU" sz="1600" dirty="0">
                <a:solidFill>
                  <a:srgbClr val="007E69"/>
                </a:solidFill>
              </a:rPr>
              <a:t>, ИЗАБИОН</a:t>
            </a:r>
            <a:r>
              <a:rPr lang="ru-RU" sz="1600" baseline="30000" dirty="0">
                <a:solidFill>
                  <a:srgbClr val="007E69"/>
                </a:solidFill>
              </a:rPr>
              <a:t>®</a:t>
            </a:r>
          </a:p>
          <a:p>
            <a:pPr marL="0" indent="0">
              <a:buNone/>
            </a:pPr>
            <a:endParaRPr lang="ru-RU" sz="1600" dirty="0">
              <a:solidFill>
                <a:srgbClr val="5E595D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D32ECA3-4923-45F8-9432-03EFD5E72031}"/>
              </a:ext>
            </a:extLst>
          </p:cNvPr>
          <p:cNvSpPr/>
          <p:nvPr/>
        </p:nvSpPr>
        <p:spPr>
          <a:xfrm>
            <a:off x="-82188" y="4574199"/>
            <a:ext cx="9405257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eaLnBrk="0" hangingPunct="0">
              <a:spcAft>
                <a:spcPts val="600"/>
              </a:spcAft>
              <a:defRPr/>
            </a:pPr>
            <a:r>
              <a:rPr lang="ru-RU" sz="1600" b="1" dirty="0">
                <a:solidFill>
                  <a:srgbClr val="007E69"/>
                </a:solidFill>
                <a:latin typeface="+mn-lt"/>
              </a:rPr>
              <a:t>Периоды рисков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E595D"/>
                </a:solidFill>
                <a:effectLst/>
                <a:latin typeface="+mn-lt"/>
                <a:ea typeface="Calibri" panose="020F0502020204030204" pitchFamily="34" charset="0"/>
              </a:rPr>
              <a:t>15 марта — 15 мая (заморозки –1 °С)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E595D"/>
                </a:solidFill>
                <a:effectLst/>
                <a:latin typeface="+mn-lt"/>
                <a:ea typeface="Calibri" panose="020F0502020204030204" pitchFamily="34" charset="0"/>
              </a:rPr>
              <a:t>15 марта — 15 мая (жара)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E595D"/>
                </a:solidFill>
                <a:effectLst/>
                <a:latin typeface="+mn-lt"/>
                <a:ea typeface="Calibri" panose="020F0502020204030204" pitchFamily="34" charset="0"/>
              </a:rPr>
              <a:t>1 июня — 10 сентября (жара)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A2A49D2-7AF9-42A8-8AF2-2C7FB9BD6E1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80135" y="0"/>
            <a:ext cx="2811865" cy="6149973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E9E1C62-4E2F-5A0A-7DB4-C3D9E2CCA376}"/>
              </a:ext>
            </a:extLst>
          </p:cNvPr>
          <p:cNvSpPr txBox="1">
            <a:spLocks/>
          </p:cNvSpPr>
          <p:nvPr/>
        </p:nvSpPr>
        <p:spPr bwMode="auto">
          <a:xfrm>
            <a:off x="368378" y="502573"/>
            <a:ext cx="6902137" cy="603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3200" b="0" dirty="0" err="1">
                <a:solidFill>
                  <a:srgbClr val="007E69"/>
                </a:solidFill>
              </a:rPr>
              <a:t>Агриклайм</a:t>
            </a:r>
            <a:r>
              <a:rPr lang="ru-RU" sz="3200" b="0" baseline="30000" dirty="0">
                <a:solidFill>
                  <a:srgbClr val="007E69"/>
                </a:solidFill>
              </a:rPr>
              <a:t>®</a:t>
            </a:r>
            <a:r>
              <a:rPr lang="ru-RU" sz="3200" b="0" dirty="0">
                <a:solidFill>
                  <a:srgbClr val="007E69"/>
                </a:solidFill>
              </a:rPr>
              <a:t>. </a:t>
            </a:r>
            <a:r>
              <a:rPr lang="ru-RU" sz="3200" b="0" kern="0" dirty="0">
                <a:solidFill>
                  <a:srgbClr val="007E69"/>
                </a:solidFill>
              </a:rPr>
              <a:t>Сады </a:t>
            </a:r>
          </a:p>
          <a:p>
            <a:r>
              <a:rPr lang="ru-RU" sz="3200" b="0" kern="0" dirty="0">
                <a:solidFill>
                  <a:srgbClr val="007E69"/>
                </a:solidFill>
              </a:rPr>
              <a:t>и виноградники. До </a:t>
            </a:r>
            <a:r>
              <a:rPr lang="ru-RU" sz="3200" kern="0" dirty="0">
                <a:solidFill>
                  <a:srgbClr val="007E69"/>
                </a:solidFill>
              </a:rPr>
              <a:t>35</a:t>
            </a:r>
            <a:r>
              <a:rPr lang="ru-RU" sz="3200" b="0" kern="0" dirty="0">
                <a:solidFill>
                  <a:srgbClr val="007E69"/>
                </a:solidFill>
              </a:rPr>
              <a:t> % выплат</a:t>
            </a:r>
            <a:endParaRPr lang="en-US" sz="3200" b="0" kern="0" dirty="0">
              <a:solidFill>
                <a:srgbClr val="007E69"/>
              </a:solidFill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911B13E-0283-C775-52AC-9784CE9ACC03}"/>
              </a:ext>
            </a:extLst>
          </p:cNvPr>
          <p:cNvSpPr txBox="1">
            <a:spLocks/>
          </p:cNvSpPr>
          <p:nvPr/>
        </p:nvSpPr>
        <p:spPr>
          <a:xfrm>
            <a:off x="368378" y="1383527"/>
            <a:ext cx="8988425" cy="1286394"/>
          </a:xfrm>
          <a:prstGeom prst="rect">
            <a:avLst/>
          </a:prstGeom>
        </p:spPr>
        <p:txBody>
          <a:bodyPr/>
          <a:lstStyle>
            <a:lvl1pPr marL="285750" indent="-285750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Font typeface="Arial" charset="0"/>
              <a:buChar char="●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6275" indent="-27622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2pPr>
            <a:lvl3pPr marL="1144588" indent="-287338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619250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4pPr>
            <a:lvl5pPr marL="20939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5pPr>
            <a:lvl6pPr marL="25511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30083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655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9227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ru-RU" b="1" kern="1200" dirty="0">
                <a:solidFill>
                  <a:srgbClr val="007E69"/>
                </a:solidFill>
                <a:latin typeface="Arial"/>
              </a:rPr>
              <a:t>Погодные риски: </a:t>
            </a:r>
            <a:r>
              <a:rPr lang="ru-RU" sz="1600" kern="120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а, заморозки</a:t>
            </a:r>
          </a:p>
          <a:p>
            <a:pPr marL="0" indent="0">
              <a:buFont typeface="Arial" charset="0"/>
              <a:buNone/>
            </a:pPr>
            <a:r>
              <a:rPr lang="ru-RU" sz="1600" dirty="0">
                <a:solidFill>
                  <a:srgbClr val="5E595D"/>
                </a:solidFill>
              </a:rPr>
              <a:t>Программа роста </a:t>
            </a:r>
            <a:r>
              <a:rPr lang="ru-RU" sz="1600" kern="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>
              <a:buClr>
                <a:srgbClr val="007E69"/>
              </a:buClr>
            </a:pPr>
            <a:r>
              <a:rPr lang="ru-RU" sz="1600" dirty="0">
                <a:solidFill>
                  <a:srgbClr val="5E595D"/>
                </a:solidFill>
              </a:rPr>
              <a:t>10 % рост суммы закупки продуктов из списка к прошлому году</a:t>
            </a:r>
            <a:r>
              <a:rPr lang="ru-RU" sz="1600" kern="0" dirty="0">
                <a:solidFill>
                  <a:srgbClr val="5E59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buClr>
                <a:srgbClr val="007E69"/>
              </a:buClr>
            </a:pPr>
            <a:r>
              <a:rPr lang="ru-RU" sz="1600" dirty="0">
                <a:solidFill>
                  <a:srgbClr val="5E595D"/>
                </a:solidFill>
              </a:rPr>
              <a:t>Минимальный порог участия  — 9 млн руб.</a:t>
            </a:r>
            <a:endParaRPr lang="en-US" sz="1600" kern="0" dirty="0">
              <a:solidFill>
                <a:srgbClr val="5E595D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3225ABE-5B89-86B9-D33C-A748F03EF53B}"/>
              </a:ext>
            </a:extLst>
          </p:cNvPr>
          <p:cNvCxnSpPr/>
          <p:nvPr/>
        </p:nvCxnSpPr>
        <p:spPr bwMode="auto">
          <a:xfrm>
            <a:off x="354931" y="2796988"/>
            <a:ext cx="7202316" cy="0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007E69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4FAFA9FE-0C8D-38ED-81CC-303FFE382F4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0275" y="1364579"/>
            <a:ext cx="4371725" cy="491805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58D15EC-9CFA-C047-13FC-EE30BC75CE5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80218" y="239210"/>
            <a:ext cx="2365460" cy="729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950916"/>
      </p:ext>
    </p:extLst>
  </p:cSld>
  <p:clrMapOvr>
    <a:masterClrMapping/>
  </p:clrMapOvr>
  <p:transition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ADDD7F0-ECE1-45A3-A3D0-36AA35F87F2F}"/>
              </a:ext>
            </a:extLst>
          </p:cNvPr>
          <p:cNvSpPr/>
          <p:nvPr/>
        </p:nvSpPr>
        <p:spPr>
          <a:xfrm>
            <a:off x="357089" y="1012427"/>
            <a:ext cx="5163178" cy="52143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+mj-lt"/>
              </a:rPr>
              <a:t>Система АгриКлайм</a:t>
            </a:r>
            <a:r>
              <a:rPr lang="ru-RU" sz="1600" baseline="30000" dirty="0">
                <a:latin typeface="+mj-lt"/>
              </a:rPr>
              <a:t>®</a:t>
            </a:r>
            <a:r>
              <a:rPr lang="ru-RU" sz="1600" dirty="0">
                <a:latin typeface="+mj-lt"/>
              </a:rPr>
              <a:t> позволяет оценить риски на полях на основе базы данных 20-летней погодной статистики </a:t>
            </a:r>
            <a:r>
              <a:rPr lang="en-US" sz="1600" dirty="0" err="1">
                <a:latin typeface="+mj-lt"/>
              </a:rPr>
              <a:t>CMORPH</a:t>
            </a:r>
            <a:r>
              <a:rPr lang="ru-RU" sz="1600" dirty="0">
                <a:latin typeface="+mj-lt"/>
              </a:rPr>
              <a:t>.</a:t>
            </a:r>
          </a:p>
          <a:p>
            <a:endParaRPr lang="en-US" sz="1600" dirty="0">
              <a:latin typeface="+mj-lt"/>
            </a:endParaRPr>
          </a:p>
          <a:p>
            <a:r>
              <a:rPr lang="ru-RU" sz="1600" dirty="0">
                <a:latin typeface="+mj-lt"/>
              </a:rPr>
              <a:t>Исторические данные за 20 лет точнее определяют условия погодных рисков для каждого поля.</a:t>
            </a:r>
          </a:p>
          <a:p>
            <a:endParaRPr lang="ru-RU" sz="1600" dirty="0">
              <a:latin typeface="+mj-lt"/>
            </a:endParaRPr>
          </a:p>
          <a:p>
            <a:r>
              <a:rPr lang="ru-RU" sz="1600" dirty="0">
                <a:latin typeface="+mj-lt"/>
              </a:rPr>
              <a:t>Данные предоставляются для каждого географического квадрата площадью примерно </a:t>
            </a:r>
          </a:p>
          <a:p>
            <a:r>
              <a:rPr lang="ru-RU" sz="1600" dirty="0">
                <a:latin typeface="+mj-lt"/>
              </a:rPr>
              <a:t>20 х 20 км по всей территории России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ru-RU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В зависимости от места расположения, климатических и географических особенностей местности каждый квадрат имеет свои условия погодной гарантии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Погодные данные предоставляются международным провайдером метеоданных </a:t>
            </a:r>
            <a:r>
              <a:rPr lang="en-US" sz="16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MeteoBlue</a:t>
            </a:r>
            <a:r>
              <a:rPr lang="en-US" sz="1600" baseline="300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®</a:t>
            </a:r>
            <a:r>
              <a:rPr lang="ru-RU" sz="16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ru-RU" sz="16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B1459BA-E871-4874-BFAE-B2E863D261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9829" y="2519245"/>
            <a:ext cx="6114291" cy="3581593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2702F7C-7826-4CCA-9F30-FA257FE189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6539" y="1030190"/>
            <a:ext cx="6114292" cy="1834288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F201C42-C137-E833-FCED-E22097E8FB3A}"/>
              </a:ext>
            </a:extLst>
          </p:cNvPr>
          <p:cNvSpPr txBox="1">
            <a:spLocks/>
          </p:cNvSpPr>
          <p:nvPr/>
        </p:nvSpPr>
        <p:spPr bwMode="auto">
          <a:xfrm>
            <a:off x="390956" y="307003"/>
            <a:ext cx="6902137" cy="603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defTabSz="957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3200" b="0" kern="0" dirty="0">
                <a:solidFill>
                  <a:srgbClr val="007E69"/>
                </a:solidFill>
              </a:rPr>
              <a:t>Онлайн-система оценки рисков</a:t>
            </a:r>
            <a:endParaRPr lang="en-US" sz="3200" b="0" kern="0" dirty="0">
              <a:solidFill>
                <a:srgbClr val="007E69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DA4FC33-20B0-4101-C3B7-77FB398DB87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19439" y="239210"/>
            <a:ext cx="2365460" cy="729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8438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8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WuoArvMjDqn1IXPESS7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vuuTs15CwRmBOZaeW4.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bUQy205X2JLUwsbiEXUg"/>
</p:tagLst>
</file>

<file path=ppt/theme/theme1.xml><?xml version="1.0" encoding="utf-8"?>
<a:theme xmlns:a="http://schemas.openxmlformats.org/drawingml/2006/main" name="Landscape_Template">
  <a:themeElements>
    <a:clrScheme name="Syngenta 2007">
      <a:dk1>
        <a:srgbClr val="626469"/>
      </a:dk1>
      <a:lt1>
        <a:srgbClr val="FFFFFF"/>
      </a:lt1>
      <a:dk2>
        <a:srgbClr val="5F7800"/>
      </a:dk2>
      <a:lt2>
        <a:srgbClr val="FFB400"/>
      </a:lt2>
      <a:accent1>
        <a:srgbClr val="00A0BE"/>
      </a:accent1>
      <a:accent2>
        <a:srgbClr val="AAB400"/>
      </a:accent2>
      <a:accent3>
        <a:srgbClr val="EB8200"/>
      </a:accent3>
      <a:accent4>
        <a:srgbClr val="82C8DC"/>
      </a:accent4>
      <a:accent5>
        <a:srgbClr val="FFB400"/>
      </a:accent5>
      <a:accent6>
        <a:srgbClr val="5F7800"/>
      </a:accent6>
      <a:hlink>
        <a:srgbClr val="EB8200"/>
      </a:hlink>
      <a:folHlink>
        <a:srgbClr val="82C8DC"/>
      </a:folHlink>
    </a:clrScheme>
    <a:fontScheme name="Printout Syngenta 200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6350" cap="flat" cmpd="sng" algn="ctr">
          <a:solidFill>
            <a:schemeClr val="folHlink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6350" cap="flat" cmpd="sng" algn="ctr">
          <a:solidFill>
            <a:schemeClr val="folHlink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normAutofit/>
      </a:bodyPr>
      <a:lstStyle>
        <a:defPPr>
          <a:spcBef>
            <a:spcPts val="0"/>
          </a:spcBef>
          <a:spcAft>
            <a:spcPts val="600"/>
          </a:spcAft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D0D3D19D-5CE0-4597-9FFA-21ADE5D5A929}" vid="{FDEA4973-2CFF-486A-B2BE-21EAAD152F8F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Syngenta: For external use only">
  <a:themeElements>
    <a:clrScheme name="Syngenta 2007">
      <a:dk1>
        <a:srgbClr val="626469"/>
      </a:dk1>
      <a:lt1>
        <a:srgbClr val="FFFFFF"/>
      </a:lt1>
      <a:dk2>
        <a:srgbClr val="5F7800"/>
      </a:dk2>
      <a:lt2>
        <a:srgbClr val="FFB400"/>
      </a:lt2>
      <a:accent1>
        <a:srgbClr val="00A0BE"/>
      </a:accent1>
      <a:accent2>
        <a:srgbClr val="AAB400"/>
      </a:accent2>
      <a:accent3>
        <a:srgbClr val="EB8200"/>
      </a:accent3>
      <a:accent4>
        <a:srgbClr val="82C8DC"/>
      </a:accent4>
      <a:accent5>
        <a:srgbClr val="FFB400"/>
      </a:accent5>
      <a:accent6>
        <a:srgbClr val="5F7800"/>
      </a:accent6>
      <a:hlink>
        <a:srgbClr val="EB8200"/>
      </a:hlink>
      <a:folHlink>
        <a:srgbClr val="82C8DC"/>
      </a:folHlink>
    </a:clrScheme>
    <a:fontScheme name="Syngenta 200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6350" cap="flat" cmpd="sng" algn="ctr">
          <a:solidFill>
            <a:schemeClr val="accent2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2"/>
        </a:solidFill>
        <a:ln w="6350" cap="flat" cmpd="sng" algn="ctr">
          <a:solidFill>
            <a:schemeClr val="accent2"/>
          </a:solidFill>
          <a:prstDash val="solid"/>
          <a:round/>
          <a:headEnd type="none" w="sm" len="sm"/>
          <a:tailEnd type="none" w="sm" len="sm"/>
        </a:ln>
        <a:effectLst/>
      </a:spPr>
      <a:bodyPr/>
      <a:lstStyle/>
    </a:lnDef>
    <a:txDef>
      <a:spPr>
        <a:noFill/>
      </a:spPr>
      <a:bodyPr wrap="square" rtlCol="0">
        <a:normAutofit/>
      </a:bodyPr>
      <a:lstStyle>
        <a:defPPr>
          <a:spcBef>
            <a:spcPts val="600"/>
          </a:spcBef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D0D3D19D-5CE0-4597-9FFA-21ADE5D5A929}" vid="{3906D39B-9501-46E0-906A-04FB783625A0}"/>
    </a:ext>
  </a:extLst>
</a:theme>
</file>

<file path=ppt/theme/theme4.xml><?xml version="1.0" encoding="utf-8"?>
<a:theme xmlns:a="http://schemas.openxmlformats.org/drawingml/2006/main" name="1_Landscape_Template">
  <a:themeElements>
    <a:clrScheme name="Syngenta 2007">
      <a:dk1>
        <a:srgbClr val="626469"/>
      </a:dk1>
      <a:lt1>
        <a:srgbClr val="FFFFFF"/>
      </a:lt1>
      <a:dk2>
        <a:srgbClr val="5F7800"/>
      </a:dk2>
      <a:lt2>
        <a:srgbClr val="FFB400"/>
      </a:lt2>
      <a:accent1>
        <a:srgbClr val="00A0BE"/>
      </a:accent1>
      <a:accent2>
        <a:srgbClr val="AAB400"/>
      </a:accent2>
      <a:accent3>
        <a:srgbClr val="EB8200"/>
      </a:accent3>
      <a:accent4>
        <a:srgbClr val="82C8DC"/>
      </a:accent4>
      <a:accent5>
        <a:srgbClr val="FFB400"/>
      </a:accent5>
      <a:accent6>
        <a:srgbClr val="5F7800"/>
      </a:accent6>
      <a:hlink>
        <a:srgbClr val="EB8200"/>
      </a:hlink>
      <a:folHlink>
        <a:srgbClr val="82C8DC"/>
      </a:folHlink>
    </a:clrScheme>
    <a:fontScheme name="Printout Syngenta 200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6350" cap="flat" cmpd="sng" algn="ctr">
          <a:solidFill>
            <a:schemeClr val="folHlink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6350" cap="flat" cmpd="sng" algn="ctr">
          <a:solidFill>
            <a:schemeClr val="folHlink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normAutofit/>
      </a:bodyPr>
      <a:lstStyle>
        <a:defPPr>
          <a:spcBef>
            <a:spcPts val="0"/>
          </a:spcBef>
          <a:spcAft>
            <a:spcPts val="600"/>
          </a:spcAft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D0D3D19D-5CE0-4597-9FFA-21ADE5D5A929}" vid="{FDEA4973-2CFF-486A-B2BE-21EAAD152F8F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21ECFB5E50A904F9B319DEA07262B14" ma:contentTypeVersion="13" ma:contentTypeDescription="Create a new document." ma:contentTypeScope="" ma:versionID="e475197242b3e3813105c21c4ebbbe5d">
  <xsd:schema xmlns:xsd="http://www.w3.org/2001/XMLSchema" xmlns:xs="http://www.w3.org/2001/XMLSchema" xmlns:p="http://schemas.microsoft.com/office/2006/metadata/properties" xmlns:ns3="0af7c692-0e5a-4e4e-a818-a1e1c7bee6a2" xmlns:ns4="eade6fa8-7e72-44ba-bdce-3de84c812010" targetNamespace="http://schemas.microsoft.com/office/2006/metadata/properties" ma:root="true" ma:fieldsID="26b8c0b8af98bd86f8599ae1183c27c9" ns3:_="" ns4:_="">
    <xsd:import namespace="0af7c692-0e5a-4e4e-a818-a1e1c7bee6a2"/>
    <xsd:import namespace="eade6fa8-7e72-44ba-bdce-3de84c81201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f7c692-0e5a-4e4e-a818-a1e1c7bee6a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2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de6fa8-7e72-44ba-bdce-3de84c812010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CAE8665-B2C0-4D54-B87F-C565FFFA3BE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49FDEA5-4988-4856-BA35-6E2D7D59AF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af7c692-0e5a-4e4e-a818-a1e1c7bee6a2"/>
    <ds:schemaRef ds:uri="eade6fa8-7e72-44ba-bdce-3de84c81201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8D4D229-DB82-461E-B023-47C315A7ECA7}">
  <ds:schemaRefs>
    <ds:schemaRef ds:uri="eade6fa8-7e72-44ba-bdce-3de84c812010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0af7c692-0e5a-4e4e-a818-a1e1c7bee6a2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yngenta wide screen template</Template>
  <TotalTime>59099</TotalTime>
  <Words>1193</Words>
  <Application>Microsoft Office PowerPoint</Application>
  <PresentationFormat>Широкоэкранный</PresentationFormat>
  <Paragraphs>142</Paragraphs>
  <Slides>12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0" baseType="lpstr">
      <vt:lpstr>Arial</vt:lpstr>
      <vt:lpstr>Calibri</vt:lpstr>
      <vt:lpstr>Calibri Light</vt:lpstr>
      <vt:lpstr>Landscape_Template</vt:lpstr>
      <vt:lpstr>Custom Design</vt:lpstr>
      <vt:lpstr>Syngenta: For external use only</vt:lpstr>
      <vt:lpstr>1_Landscape_Template</vt:lpstr>
      <vt:lpstr>think-cell Slide</vt:lpstr>
      <vt:lpstr>Презентация PowerPoint</vt:lpstr>
      <vt:lpstr>Презентация PowerPoint</vt:lpstr>
      <vt:lpstr>Агриклайм®. Зерновые  До 35 % выплат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Syngent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heridan Patrick Frank CHBS</dc:creator>
  <cp:lastModifiedBy>Skorikova Maria RUMO</cp:lastModifiedBy>
  <cp:revision>474</cp:revision>
  <cp:lastPrinted>2022-10-19T12:34:19Z</cp:lastPrinted>
  <dcterms:created xsi:type="dcterms:W3CDTF">2020-04-24T17:42:59Z</dcterms:created>
  <dcterms:modified xsi:type="dcterms:W3CDTF">2023-03-10T13:17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21ECFB5E50A904F9B319DEA07262B14</vt:lpwstr>
  </property>
</Properties>
</file>